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omments/modernComment_197_9E7F3FC5.xml" ContentType="application/vnd.ms-powerpoint.comments+xml"/>
  <Override PartName="/ppt/notesSlides/notesSlide1.xml" ContentType="application/vnd.openxmlformats-officedocument.presentationml.notesSlide+xml"/>
  <Override PartName="/ppt/comments/modernComment_7FFFEED2_56F7711A.xml" ContentType="application/vnd.ms-powerpoint.comment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2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charts/chart1.xml" ContentType="application/vnd.openxmlformats-officedocument.drawingml.chart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charts/chart2.xml" ContentType="application/vnd.openxmlformats-officedocument.drawingml.chart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charts/chart5.xml" ContentType="application/vnd.openxmlformats-officedocument.drawingml.chart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charts/chart6.xml" ContentType="application/vnd.openxmlformats-officedocument.drawingml.chart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charts/chart21.xml" ContentType="application/vnd.openxmlformats-officedocument.drawingml.chart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5"/>
    <p:sldMasterId id="2147483742" r:id="rId6"/>
    <p:sldMasterId id="2147483821" r:id="rId7"/>
    <p:sldMasterId id="2147483835" r:id="rId8"/>
    <p:sldMasterId id="2147483888" r:id="rId9"/>
  </p:sldMasterIdLst>
  <p:notesMasterIdLst>
    <p:notesMasterId r:id="rId40"/>
  </p:notesMasterIdLst>
  <p:handoutMasterIdLst>
    <p:handoutMasterId r:id="rId41"/>
  </p:handoutMasterIdLst>
  <p:sldIdLst>
    <p:sldId id="2141411721" r:id="rId10"/>
    <p:sldId id="2141411718" r:id="rId11"/>
    <p:sldId id="407" r:id="rId12"/>
    <p:sldId id="2147479250" r:id="rId13"/>
    <p:sldId id="2147479249" r:id="rId14"/>
    <p:sldId id="2147479452" r:id="rId15"/>
    <p:sldId id="2147479417" r:id="rId16"/>
    <p:sldId id="410" r:id="rId17"/>
    <p:sldId id="2141411727" r:id="rId18"/>
    <p:sldId id="2147479459" r:id="rId19"/>
    <p:sldId id="2147479488" r:id="rId20"/>
    <p:sldId id="2147479475" r:id="rId21"/>
    <p:sldId id="2147479474" r:id="rId22"/>
    <p:sldId id="2147479454" r:id="rId23"/>
    <p:sldId id="2147479489" r:id="rId24"/>
    <p:sldId id="2147479490" r:id="rId25"/>
    <p:sldId id="2147479491" r:id="rId26"/>
    <p:sldId id="2147479465" r:id="rId27"/>
    <p:sldId id="2147479461" r:id="rId28"/>
    <p:sldId id="2147479469" r:id="rId29"/>
    <p:sldId id="2147479476" r:id="rId30"/>
    <p:sldId id="2147479483" r:id="rId31"/>
    <p:sldId id="2147479482" r:id="rId32"/>
    <p:sldId id="2147479484" r:id="rId33"/>
    <p:sldId id="2147479485" r:id="rId34"/>
    <p:sldId id="2147479486" r:id="rId35"/>
    <p:sldId id="2147479487" r:id="rId36"/>
    <p:sldId id="342" r:id="rId37"/>
    <p:sldId id="2147479468" r:id="rId38"/>
    <p:sldId id="2147479467" r:id="rId39"/>
  </p:sldIdLst>
  <p:sldSz cx="12192000" cy="6858000"/>
  <p:notesSz cx="6858000" cy="9144000"/>
  <p:custDataLst>
    <p:tags r:id="rId4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A802A05-56B6-4998-BDEB-B4BED2F54D52}">
          <p14:sldIdLst>
            <p14:sldId id="2141411721"/>
          </p14:sldIdLst>
        </p14:section>
        <p14:section name="Intro and Background" id="{A02DC4CC-2967-4F45-B94F-9C3BAE73DF47}">
          <p14:sldIdLst>
            <p14:sldId id="2141411718"/>
            <p14:sldId id="407"/>
            <p14:sldId id="2147479250"/>
            <p14:sldId id="2147479249"/>
          </p14:sldIdLst>
        </p14:section>
        <p14:section name="Modelling approach" id="{643D0FDD-F138-42A5-9777-0381DA1727C9}">
          <p14:sldIdLst>
            <p14:sldId id="2147479452"/>
            <p14:sldId id="2147479417"/>
          </p14:sldIdLst>
        </p14:section>
        <p14:section name="Assumptions" id="{D39354C7-593D-4208-B4B9-12609D4A8487}">
          <p14:sldIdLst>
            <p14:sldId id="410"/>
            <p14:sldId id="2141411727"/>
            <p14:sldId id="2147479459"/>
            <p14:sldId id="2147479488"/>
            <p14:sldId id="2147479475"/>
            <p14:sldId id="2147479474"/>
            <p14:sldId id="2147479454"/>
            <p14:sldId id="2147479489"/>
            <p14:sldId id="2147479490"/>
            <p14:sldId id="2147479491"/>
            <p14:sldId id="2147479465"/>
            <p14:sldId id="2147479461"/>
            <p14:sldId id="2147479469"/>
            <p14:sldId id="2147479476"/>
            <p14:sldId id="2147479483"/>
            <p14:sldId id="2147479482"/>
            <p14:sldId id="2147479484"/>
            <p14:sldId id="2147479485"/>
            <p14:sldId id="2147479486"/>
            <p14:sldId id="2147479487"/>
            <p14:sldId id="342"/>
            <p14:sldId id="2147479468"/>
            <p14:sldId id="214747946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03ED70B-D07D-94F7-25B3-61FD66F64C39}" name="Cassandra Quintanilla" initials="CQ" userId="S::cquintanilla@gavi.org::fa6037fe-5e64-4047-9ab0-eb9728882dbe" providerId="AD"/>
  <p188:author id="{8963615E-61DC-864D-C338-2836176E14B2}" name="Francisco Luquero" initials="FL" userId="S::fluquero@gavi.org::f15d1152-de66-49be-ab6d-f52ac8943ea4" providerId="AD"/>
  <p188:author id="{2FDFDF7A-9C5F-6F82-867B-7DA047FC826E}" name="Cassandra Quintanilla" initials="CQ" userId="S::cquintanilla@Gavi.org::fa6037fe-5e64-4047-9ab0-eb9728882dbe" providerId="AD"/>
  <p188:author id="{F12E1B9C-BB61-97B5-27F0-EB5745E9E7DE}" name="Samya Mandal" initials="SM" userId="S::smandal@gavi.org::dcd05898-9e80-466b-ab12-6727394ab0ac" providerId="AD"/>
  <p188:author id="{EF83B2C9-BA55-7095-63E9-31E942885693}" name="Margarita Xydia Charmanta" initials="MC" userId="S::mxydiacharmanta@gavi.org::2cb9a114-ba97-45e5-9fe2-50e16bba3581" providerId="AD"/>
  <p188:author id="{A2A44BF9-97E3-F899-E864-CF46382AACC8}" name="Maël Redard-Jacot" initials="MRJ" userId="S::mredardjacot@gavi.org::1ced2537-5954-4a76-b40d-8b1404b0c0c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72C4"/>
    <a:srgbClr val="5B9BD5"/>
    <a:srgbClr val="70AD47"/>
    <a:srgbClr val="2A8B53"/>
    <a:srgbClr val="BEDEFF"/>
    <a:srgbClr val="7DBEFF"/>
    <a:srgbClr val="6DD499"/>
    <a:srgbClr val="3CC677"/>
    <a:srgbClr val="33A865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12" autoAdjust="0"/>
    <p:restoredTop sz="94314" autoAdjust="0"/>
  </p:normalViewPr>
  <p:slideViewPr>
    <p:cSldViewPr snapToGrid="0">
      <p:cViewPr varScale="1">
        <p:scale>
          <a:sx n="142" d="100"/>
          <a:sy n="142" d="100"/>
        </p:scale>
        <p:origin x="58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tags" Target="tags/tag1.xml"/><Relationship Id="rId47" Type="http://schemas.microsoft.com/office/2018/10/relationships/authors" Target="authors.xml"/><Relationship Id="rId7" Type="http://schemas.openxmlformats.org/officeDocument/2006/relationships/slideMaster" Target="slideMasters/slideMaster3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presProps" Target="presProps.xml"/><Relationship Id="rId8" Type="http://schemas.openxmlformats.org/officeDocument/2006/relationships/slideMaster" Target="slideMasters/slideMaster4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tableStyles" Target="tableStyles.xml"/><Relationship Id="rId20" Type="http://schemas.openxmlformats.org/officeDocument/2006/relationships/slide" Target="slides/slide11.xml"/><Relationship Id="rId41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7.xlsb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8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9.xlsb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0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160320641282558E-3"/>
          <c:y val="2.0626735422451407E-2"/>
          <c:w val="0.98396793587174347"/>
          <c:h val="0.958746529155097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534719.28065176448</c:v>
                </c:pt>
                <c:pt idx="1">
                  <c:v>1333260.073101026</c:v>
                </c:pt>
                <c:pt idx="2">
                  <c:v>2354297.2391121225</c:v>
                </c:pt>
                <c:pt idx="3">
                  <c:v>3992165.6450304035</c:v>
                </c:pt>
                <c:pt idx="4">
                  <c:v>7963948.0406871745</c:v>
                </c:pt>
                <c:pt idx="5">
                  <c:v>10637304.3283321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18-425A-ADA2-0CAB259C55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78342304"/>
        <c:axId val="1"/>
      </c:barChart>
      <c:catAx>
        <c:axId val="7783423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637304.32833210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7783423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479033404406538E-2"/>
          <c:y val="3.270440251572327E-2"/>
          <c:w val="0.96304193319118692"/>
          <c:h val="0.93459119496855347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D474-4231-A740-D9FF4231438D}"/>
              </c:ext>
            </c:extLst>
          </c:dPt>
          <c:dPt>
            <c:idx val="1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D474-4231-A740-D9FF4231438D}"/>
              </c:ext>
            </c:extLst>
          </c:dPt>
          <c:dPt>
            <c:idx val="2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D474-4231-A740-D9FF4231438D}"/>
              </c:ext>
            </c:extLst>
          </c:dPt>
          <c:dPt>
            <c:idx val="3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D474-4231-A740-D9FF4231438D}"/>
              </c:ext>
            </c:extLst>
          </c:dPt>
          <c:dPt>
            <c:idx val="4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D474-4231-A740-D9FF4231438D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45000</c:v>
                </c:pt>
                <c:pt idx="1">
                  <c:v>156776.47462549713</c:v>
                </c:pt>
                <c:pt idx="2">
                  <c:v>485863.97849258926</c:v>
                </c:pt>
                <c:pt idx="3">
                  <c:v>485863.97849258926</c:v>
                </c:pt>
                <c:pt idx="4">
                  <c:v>485863.978492589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474-4231-A740-D9FF423143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144959"/>
        <c:axId val="1"/>
      </c:lineChart>
      <c:catAx>
        <c:axId val="2014495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85863.9784925892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144959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902140672782873E-2"/>
          <c:y val="1.8226428321065545E-2"/>
          <c:w val="0.96819571865443421"/>
          <c:h val="0.9635471433578689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1000</c:v>
                </c:pt>
                <c:pt idx="1">
                  <c:v>1496.7843316688761</c:v>
                </c:pt>
                <c:pt idx="2">
                  <c:v>1993.5686633377522</c:v>
                </c:pt>
                <c:pt idx="3">
                  <c:v>2490.3529950066281</c:v>
                </c:pt>
                <c:pt idx="4">
                  <c:v>2987.137326675504</c:v>
                </c:pt>
                <c:pt idx="5">
                  <c:v>3483.92165834437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5C-4F81-98F1-AB2F7C1BBBB9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700</c:v>
                </c:pt>
                <c:pt idx="1">
                  <c:v>1047.7490321682133</c:v>
                </c:pt>
                <c:pt idx="2">
                  <c:v>1395.4980643364265</c:v>
                </c:pt>
                <c:pt idx="3">
                  <c:v>1743.2470965046391</c:v>
                </c:pt>
                <c:pt idx="4">
                  <c:v>2090.9961286728526</c:v>
                </c:pt>
                <c:pt idx="5">
                  <c:v>2438.74516084106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55C-4F81-98F1-AB2F7C1BBBB9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0">
                  <c:v>490</c:v>
                </c:pt>
                <c:pt idx="1">
                  <c:v>733.42432251774926</c:v>
                </c:pt>
                <c:pt idx="2">
                  <c:v>976.84864503549852</c:v>
                </c:pt>
                <c:pt idx="3">
                  <c:v>1220.2729675532473</c:v>
                </c:pt>
                <c:pt idx="4">
                  <c:v>1463.697290070997</c:v>
                </c:pt>
                <c:pt idx="5">
                  <c:v>1707.12161258874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55C-4F81-98F1-AB2F7C1BBBB9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4:$F$4</c:f>
              <c:numCache>
                <c:formatCode>General</c:formatCode>
                <c:ptCount val="6"/>
                <c:pt idx="0">
                  <c:v>1270.0174647683398</c:v>
                </c:pt>
                <c:pt idx="1">
                  <c:v>1900.9422422110797</c:v>
                </c:pt>
                <c:pt idx="2">
                  <c:v>2531.8670196538196</c:v>
                </c:pt>
                <c:pt idx="3">
                  <c:v>3162.79179709656</c:v>
                </c:pt>
                <c:pt idx="4">
                  <c:v>3793.7165745392986</c:v>
                </c:pt>
                <c:pt idx="5">
                  <c:v>4424.6413519820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55C-4F81-98F1-AB2F7C1BBBB9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5:$F$5</c:f>
              <c:numCache>
                <c:formatCode>General</c:formatCode>
                <c:ptCount val="6"/>
                <c:pt idx="0">
                  <c:v>865.00436619208449</c:v>
                </c:pt>
                <c:pt idx="1">
                  <c:v>429.72061594939441</c:v>
                </c:pt>
                <c:pt idx="2">
                  <c:v>429.72061594939441</c:v>
                </c:pt>
                <c:pt idx="3">
                  <c:v>429.72061594939441</c:v>
                </c:pt>
                <c:pt idx="4">
                  <c:v>429.72061594939441</c:v>
                </c:pt>
                <c:pt idx="5">
                  <c:v>429.720615949394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55C-4F81-98F1-AB2F7C1BBB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45838287"/>
        <c:axId val="1"/>
      </c:barChart>
      <c:catAx>
        <c:axId val="3458382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en-US"/>
          </a:p>
        </c:txPr>
        <c:crossAx val="345838287"/>
        <c:crosses val="min"/>
        <c:crossBetween val="between"/>
        <c:majorUnit val="1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461077844311378E-2"/>
          <c:y val="3.270440251572327E-2"/>
          <c:w val="0.96107784431137722"/>
          <c:h val="0.93459119496855347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203D-47FB-BF65-772825370B8A}"/>
              </c:ext>
            </c:extLst>
          </c:dPt>
          <c:dPt>
            <c:idx val="1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203D-47FB-BF65-772825370B8A}"/>
              </c:ext>
            </c:extLst>
          </c:dPt>
          <c:dPt>
            <c:idx val="2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203D-47FB-BF65-772825370B8A}"/>
              </c:ext>
            </c:extLst>
          </c:dPt>
          <c:dPt>
            <c:idx val="3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203D-47FB-BF65-772825370B8A}"/>
              </c:ext>
            </c:extLst>
          </c:dPt>
          <c:dPt>
            <c:idx val="4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203D-47FB-BF65-772825370B8A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1000</c:v>
                </c:pt>
                <c:pt idx="1">
                  <c:v>3483.9216583443804</c:v>
                </c:pt>
                <c:pt idx="2">
                  <c:v>10796.977299835316</c:v>
                </c:pt>
                <c:pt idx="3">
                  <c:v>10796.977299835316</c:v>
                </c:pt>
                <c:pt idx="4">
                  <c:v>10796.9772998353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03D-47FB-BF65-772825370B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76252943"/>
        <c:axId val="1"/>
      </c:lineChart>
      <c:catAx>
        <c:axId val="8762529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796.97729983531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76252943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902140672782873E-2"/>
          <c:y val="1.8226428321065545E-2"/>
          <c:w val="0.96819571865443421"/>
          <c:h val="0.9635471433578689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25000</c:v>
                </c:pt>
                <c:pt idx="1">
                  <c:v>37419.608291721903</c:v>
                </c:pt>
                <c:pt idx="2">
                  <c:v>49839.216583443806</c:v>
                </c:pt>
                <c:pt idx="3">
                  <c:v>62258.824875165708</c:v>
                </c:pt>
                <c:pt idx="4">
                  <c:v>74678.433166887611</c:v>
                </c:pt>
                <c:pt idx="5">
                  <c:v>87098.0414586095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9D-4D31-AC4B-23464695E472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17500</c:v>
                </c:pt>
                <c:pt idx="1">
                  <c:v>26193.725804205329</c:v>
                </c:pt>
                <c:pt idx="2">
                  <c:v>34887.451608410658</c:v>
                </c:pt>
                <c:pt idx="3">
                  <c:v>43581.177412616002</c:v>
                </c:pt>
                <c:pt idx="4">
                  <c:v>52274.903216821316</c:v>
                </c:pt>
                <c:pt idx="5">
                  <c:v>60968.629021026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E9D-4D31-AC4B-23464695E472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0">
                  <c:v>12250</c:v>
                </c:pt>
                <c:pt idx="1">
                  <c:v>18335.60806294372</c:v>
                </c:pt>
                <c:pt idx="2">
                  <c:v>24421.216125887455</c:v>
                </c:pt>
                <c:pt idx="3">
                  <c:v>30506.824188831204</c:v>
                </c:pt>
                <c:pt idx="4">
                  <c:v>36592.432251774939</c:v>
                </c:pt>
                <c:pt idx="5">
                  <c:v>42678.0403147186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E9D-4D31-AC4B-23464695E472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4:$F$4</c:f>
              <c:numCache>
                <c:formatCode>General</c:formatCode>
                <c:ptCount val="6"/>
                <c:pt idx="0">
                  <c:v>22002.341807432429</c:v>
                </c:pt>
                <c:pt idx="1">
                  <c:v>32932.760477387928</c:v>
                </c:pt>
                <c:pt idx="2">
                  <c:v>43863.179147343399</c:v>
                </c:pt>
                <c:pt idx="3">
                  <c:v>54793.597817298927</c:v>
                </c:pt>
                <c:pt idx="4">
                  <c:v>65724.016487254412</c:v>
                </c:pt>
                <c:pt idx="5">
                  <c:v>76654.4351572098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E9D-4D31-AC4B-23464695E472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5:$F$5</c:f>
              <c:numCache>
                <c:formatCode>General</c:formatCode>
                <c:ptCount val="6"/>
                <c:pt idx="0">
                  <c:v>19188.085451858104</c:v>
                </c:pt>
                <c:pt idx="1">
                  <c:v>9532.3402072066092</c:v>
                </c:pt>
                <c:pt idx="2">
                  <c:v>9532.3402072066092</c:v>
                </c:pt>
                <c:pt idx="3">
                  <c:v>9532.3402072066383</c:v>
                </c:pt>
                <c:pt idx="4">
                  <c:v>9532.3402072066092</c:v>
                </c:pt>
                <c:pt idx="5">
                  <c:v>9532.34020720660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E9D-4D31-AC4B-23464695E4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76300600"/>
        <c:axId val="1"/>
      </c:barChart>
      <c:catAx>
        <c:axId val="12763006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8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en-US"/>
          </a:p>
        </c:txPr>
        <c:crossAx val="1276300600"/>
        <c:crosses val="min"/>
        <c:crossBetween val="between"/>
        <c:majorUnit val="2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110891740704178E-2"/>
          <c:y val="3.270440251572327E-2"/>
          <c:w val="0.96577821651859164"/>
          <c:h val="0.93459119496855347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1D6E-43DD-89BB-A679DA555425}"/>
              </c:ext>
            </c:extLst>
          </c:dPt>
          <c:dPt>
            <c:idx val="1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1D6E-43DD-89BB-A679DA555425}"/>
              </c:ext>
            </c:extLst>
          </c:dPt>
          <c:dPt>
            <c:idx val="2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1D6E-43DD-89BB-A679DA555425}"/>
              </c:ext>
            </c:extLst>
          </c:dPt>
          <c:dPt>
            <c:idx val="3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1D6E-43DD-89BB-A679DA555425}"/>
              </c:ext>
            </c:extLst>
          </c:dPt>
          <c:dPt>
            <c:idx val="4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1D6E-43DD-89BB-A679DA555425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25000</c:v>
                </c:pt>
                <c:pt idx="1">
                  <c:v>87098.041458609514</c:v>
                </c:pt>
                <c:pt idx="2">
                  <c:v>269924.43249588291</c:v>
                </c:pt>
                <c:pt idx="3">
                  <c:v>269924.43249588291</c:v>
                </c:pt>
                <c:pt idx="4">
                  <c:v>269924.432495882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D6E-43DD-89BB-A679DA5554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86722047"/>
        <c:axId val="1"/>
      </c:lineChart>
      <c:catAx>
        <c:axId val="7867220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9924.4324958829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86722047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902140672782873E-2"/>
          <c:y val="1.8226428321065545E-2"/>
          <c:w val="0.96819571865443421"/>
          <c:h val="0.9635471433578689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8750</c:v>
                </c:pt>
                <c:pt idx="1">
                  <c:v>13096.862902102666</c:v>
                </c:pt>
                <c:pt idx="2">
                  <c:v>17443.725804205333</c:v>
                </c:pt>
                <c:pt idx="3">
                  <c:v>21790.588706308001</c:v>
                </c:pt>
                <c:pt idx="4">
                  <c:v>26137.451608410665</c:v>
                </c:pt>
                <c:pt idx="5">
                  <c:v>30484.31451051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7E-4308-B29A-BBED65835015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6125</c:v>
                </c:pt>
                <c:pt idx="1">
                  <c:v>9167.8040314718655</c:v>
                </c:pt>
                <c:pt idx="2">
                  <c:v>12210.608062943731</c:v>
                </c:pt>
                <c:pt idx="3">
                  <c:v>15253.412094415602</c:v>
                </c:pt>
                <c:pt idx="4">
                  <c:v>18296.216125887462</c:v>
                </c:pt>
                <c:pt idx="5">
                  <c:v>21339.0201573593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A7E-4308-B29A-BBED65835015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0">
                  <c:v>4287.5</c:v>
                </c:pt>
                <c:pt idx="1">
                  <c:v>6417.4628220303057</c:v>
                </c:pt>
                <c:pt idx="2">
                  <c:v>8547.4256440606114</c:v>
                </c:pt>
                <c:pt idx="3">
                  <c:v>10677.388466090917</c:v>
                </c:pt>
                <c:pt idx="4">
                  <c:v>12807.351288121223</c:v>
                </c:pt>
                <c:pt idx="5">
                  <c:v>14937.3141101515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A7E-4308-B29A-BBED65835015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4:$F$4</c:f>
              <c:numCache>
                <c:formatCode>General</c:formatCode>
                <c:ptCount val="6"/>
                <c:pt idx="0">
                  <c:v>9225.3953462837817</c:v>
                </c:pt>
                <c:pt idx="1">
                  <c:v>13808.427207768531</c:v>
                </c:pt>
                <c:pt idx="2">
                  <c:v>18391.45906925328</c:v>
                </c:pt>
                <c:pt idx="3">
                  <c:v>22974.490930738037</c:v>
                </c:pt>
                <c:pt idx="4">
                  <c:v>27557.522792222779</c:v>
                </c:pt>
                <c:pt idx="5">
                  <c:v>32140.5546537075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A7E-4308-B29A-BBED65835015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5:$F$5</c:f>
              <c:numCache>
                <c:formatCode>General</c:formatCode>
                <c:ptCount val="6"/>
                <c:pt idx="0">
                  <c:v>7096.9738365709491</c:v>
                </c:pt>
                <c:pt idx="1">
                  <c:v>3525.6654042723967</c:v>
                </c:pt>
                <c:pt idx="2">
                  <c:v>3525.6654042723967</c:v>
                </c:pt>
                <c:pt idx="3">
                  <c:v>3525.6654042723967</c:v>
                </c:pt>
                <c:pt idx="4">
                  <c:v>3525.6654042723967</c:v>
                </c:pt>
                <c:pt idx="5">
                  <c:v>3525.66540427239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A7E-4308-B29A-BBED658350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39635455"/>
        <c:axId val="1"/>
      </c:barChart>
      <c:catAx>
        <c:axId val="53963545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en-US"/>
          </a:p>
        </c:txPr>
        <c:crossAx val="539635455"/>
        <c:crosses val="min"/>
        <c:crossBetween val="between"/>
        <c:majorUnit val="1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110891740704178E-2"/>
          <c:y val="3.270440251572327E-2"/>
          <c:w val="0.96577821651859164"/>
          <c:h val="0.93459119496855347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88EC-41F6-9214-53D95EF1149E}"/>
              </c:ext>
            </c:extLst>
          </c:dPt>
          <c:dPt>
            <c:idx val="1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88EC-41F6-9214-53D95EF1149E}"/>
              </c:ext>
            </c:extLst>
          </c:dPt>
          <c:dPt>
            <c:idx val="2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88EC-41F6-9214-53D95EF1149E}"/>
              </c:ext>
            </c:extLst>
          </c:dPt>
          <c:dPt>
            <c:idx val="3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88EC-41F6-9214-53D95EF1149E}"/>
              </c:ext>
            </c:extLst>
          </c:dPt>
          <c:dPt>
            <c:idx val="4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88EC-41F6-9214-53D95EF1149E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8750</c:v>
                </c:pt>
                <c:pt idx="1">
                  <c:v>30484.31451051333</c:v>
                </c:pt>
                <c:pt idx="2">
                  <c:v>94473.551373559021</c:v>
                </c:pt>
                <c:pt idx="3">
                  <c:v>94473.551373559021</c:v>
                </c:pt>
                <c:pt idx="4">
                  <c:v>94473.5513735590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8EC-41F6-9214-53D95EF114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45849447"/>
        <c:axId val="1"/>
      </c:lineChart>
      <c:catAx>
        <c:axId val="3458494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4473.55137355902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45849447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902140672782873E-2"/>
          <c:y val="1.8226428321065545E-2"/>
          <c:w val="0.96819571865443421"/>
          <c:h val="0.9635471433578689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7000</c:v>
                </c:pt>
                <c:pt idx="1">
                  <c:v>10477.490321682133</c:v>
                </c:pt>
                <c:pt idx="2">
                  <c:v>13954.980643364266</c:v>
                </c:pt>
                <c:pt idx="3">
                  <c:v>17432.470965046399</c:v>
                </c:pt>
                <c:pt idx="4">
                  <c:v>20909.961286728532</c:v>
                </c:pt>
                <c:pt idx="5">
                  <c:v>24387.4516084106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2A-42EB-9F2D-1099352E9CEE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4900</c:v>
                </c:pt>
                <c:pt idx="1">
                  <c:v>7334.2432251774917</c:v>
                </c:pt>
                <c:pt idx="2">
                  <c:v>9768.4864503549834</c:v>
                </c:pt>
                <c:pt idx="3">
                  <c:v>12202.729675532479</c:v>
                </c:pt>
                <c:pt idx="4">
                  <c:v>14636.972900709974</c:v>
                </c:pt>
                <c:pt idx="5">
                  <c:v>17071.2161258874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D2A-42EB-9F2D-1099352E9CEE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0">
                  <c:v>3430</c:v>
                </c:pt>
                <c:pt idx="1">
                  <c:v>5133.9702576242453</c:v>
                </c:pt>
                <c:pt idx="2">
                  <c:v>6837.9405152484906</c:v>
                </c:pt>
                <c:pt idx="3">
                  <c:v>8541.9107728727322</c:v>
                </c:pt>
                <c:pt idx="4">
                  <c:v>10245.881030496981</c:v>
                </c:pt>
                <c:pt idx="5">
                  <c:v>11949.8512881212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D2A-42EB-9F2D-1099352E9CEE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4:$F$4</c:f>
              <c:numCache>
                <c:formatCode>General</c:formatCode>
                <c:ptCount val="6"/>
                <c:pt idx="0">
                  <c:v>6850.13281418919</c:v>
                </c:pt>
                <c:pt idx="1">
                  <c:v>10253.171466129206</c:v>
                </c:pt>
                <c:pt idx="2">
                  <c:v>13656.210118069219</c:v>
                </c:pt>
                <c:pt idx="3">
                  <c:v>17059.248770009232</c:v>
                </c:pt>
                <c:pt idx="4">
                  <c:v>20462.287421949244</c:v>
                </c:pt>
                <c:pt idx="5">
                  <c:v>23865.3260738892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D2A-42EB-9F2D-1099352E9CEE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5:$F$5</c:f>
              <c:numCache>
                <c:formatCode>General</c:formatCode>
                <c:ptCount val="6"/>
                <c:pt idx="0">
                  <c:v>5545.0332035472966</c:v>
                </c:pt>
                <c:pt idx="1">
                  <c:v>2754.6856141059689</c:v>
                </c:pt>
                <c:pt idx="2">
                  <c:v>2754.6856141059689</c:v>
                </c:pt>
                <c:pt idx="3">
                  <c:v>2754.6856141059689</c:v>
                </c:pt>
                <c:pt idx="4">
                  <c:v>2754.6856141059689</c:v>
                </c:pt>
                <c:pt idx="5">
                  <c:v>2754.68561410596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D2A-42EB-9F2D-1099352E9C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63837175"/>
        <c:axId val="1"/>
      </c:barChart>
      <c:catAx>
        <c:axId val="26383717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en-US"/>
          </a:p>
        </c:txPr>
        <c:crossAx val="263837175"/>
        <c:crosses val="min"/>
        <c:crossBetween val="between"/>
        <c:majorUnit val="1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110891740704178E-2"/>
          <c:y val="3.270440251572327E-2"/>
          <c:w val="0.96577821651859164"/>
          <c:h val="0.93459119496855347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67FA-43EE-A4C1-07ECA9DD6D4F}"/>
              </c:ext>
            </c:extLst>
          </c:dPt>
          <c:dPt>
            <c:idx val="1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67FA-43EE-A4C1-07ECA9DD6D4F}"/>
              </c:ext>
            </c:extLst>
          </c:dPt>
          <c:dPt>
            <c:idx val="2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67FA-43EE-A4C1-07ECA9DD6D4F}"/>
              </c:ext>
            </c:extLst>
          </c:dPt>
          <c:dPt>
            <c:idx val="3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67FA-43EE-A4C1-07ECA9DD6D4F}"/>
              </c:ext>
            </c:extLst>
          </c:dPt>
          <c:dPt>
            <c:idx val="4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67FA-43EE-A4C1-07ECA9DD6D4F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7000</c:v>
                </c:pt>
                <c:pt idx="1">
                  <c:v>24387.451608410662</c:v>
                </c:pt>
                <c:pt idx="2">
                  <c:v>75578.841098847217</c:v>
                </c:pt>
                <c:pt idx="3">
                  <c:v>75578.841098847217</c:v>
                </c:pt>
                <c:pt idx="4">
                  <c:v>75578.8410988472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7FA-43EE-A4C1-07ECA9DD6D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45894087"/>
        <c:axId val="1"/>
      </c:lineChart>
      <c:catAx>
        <c:axId val="3458940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5578.84109884721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45894087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902140672782873E-2"/>
          <c:y val="1.8226428321065545E-2"/>
          <c:w val="0.96819571865443421"/>
          <c:h val="0.9635471433578689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30000</c:v>
                </c:pt>
                <c:pt idx="1">
                  <c:v>44903.52995006628</c:v>
                </c:pt>
                <c:pt idx="2">
                  <c:v>59807.059900132561</c:v>
                </c:pt>
                <c:pt idx="3">
                  <c:v>74710.589850198841</c:v>
                </c:pt>
                <c:pt idx="4">
                  <c:v>89614.119800265122</c:v>
                </c:pt>
                <c:pt idx="5">
                  <c:v>104517.64975033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CD-4EEF-A041-79087EF5C16D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21000</c:v>
                </c:pt>
                <c:pt idx="1">
                  <c:v>31432.470965046392</c:v>
                </c:pt>
                <c:pt idx="2">
                  <c:v>41864.941930092784</c:v>
                </c:pt>
                <c:pt idx="3">
                  <c:v>52297.412895139176</c:v>
                </c:pt>
                <c:pt idx="4">
                  <c:v>62729.883860185568</c:v>
                </c:pt>
                <c:pt idx="5">
                  <c:v>73162.354825231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FCD-4EEF-A041-79087EF5C16D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0">
                  <c:v>14700</c:v>
                </c:pt>
                <c:pt idx="1">
                  <c:v>22002.729675532479</c:v>
                </c:pt>
                <c:pt idx="2">
                  <c:v>29305.459351064957</c:v>
                </c:pt>
                <c:pt idx="3">
                  <c:v>36608.189026597422</c:v>
                </c:pt>
                <c:pt idx="4">
                  <c:v>43910.918702129915</c:v>
                </c:pt>
                <c:pt idx="5">
                  <c:v>51213.6483776623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FCD-4EEF-A041-79087EF5C16D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4:$F$4</c:f>
              <c:numCache>
                <c:formatCode>General</c:formatCode>
                <c:ptCount val="6"/>
                <c:pt idx="0">
                  <c:v>32938.853542471043</c:v>
                </c:pt>
                <c:pt idx="1">
                  <c:v>49302.359885506521</c:v>
                </c:pt>
                <c:pt idx="2">
                  <c:v>65665.86622854197</c:v>
                </c:pt>
                <c:pt idx="3">
                  <c:v>82029.372571577434</c:v>
                </c:pt>
                <c:pt idx="4">
                  <c:v>98392.878914612869</c:v>
                </c:pt>
                <c:pt idx="5">
                  <c:v>114756.385257648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FCD-4EEF-A041-79087EF5C16D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5:$F$5</c:f>
              <c:numCache>
                <c:formatCode>General</c:formatCode>
                <c:ptCount val="6"/>
                <c:pt idx="0">
                  <c:v>24659.713385617768</c:v>
                </c:pt>
                <c:pt idx="1">
                  <c:v>12250.55923342015</c:v>
                </c:pt>
                <c:pt idx="2">
                  <c:v>12250.55923342015</c:v>
                </c:pt>
                <c:pt idx="3">
                  <c:v>12250.55923342015</c:v>
                </c:pt>
                <c:pt idx="4">
                  <c:v>12250.559233420179</c:v>
                </c:pt>
                <c:pt idx="5">
                  <c:v>12250.5592334201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FCD-4EEF-A041-79087EF5C1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71682984"/>
        <c:axId val="1"/>
      </c:barChart>
      <c:catAx>
        <c:axId val="9716829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en-US"/>
          </a:p>
        </c:txPr>
        <c:crossAx val="971682984"/>
        <c:crosses val="min"/>
        <c:crossBetween val="between"/>
        <c:majorUnit val="5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427039904705182E-3"/>
          <c:y val="1.9202363367799114E-2"/>
          <c:w val="0.984514592019059"/>
          <c:h val="0.961595273264401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57D-4DB6-AA60-2FC79B0E3AC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57D-4DB6-AA60-2FC79B0E3AC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A57D-4DB6-AA60-2FC79B0E3AC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57D-4DB6-AA60-2FC79B0E3AC3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36.247041352972865</c:v>
                </c:pt>
                <c:pt idx="1">
                  <c:v>31.808084413457216</c:v>
                </c:pt>
                <c:pt idx="2">
                  <c:v>23.359247598597644</c:v>
                </c:pt>
                <c:pt idx="3">
                  <c:v>18.194695159999551</c:v>
                </c:pt>
                <c:pt idx="4">
                  <c:v>29.759907475143756</c:v>
                </c:pt>
                <c:pt idx="5">
                  <c:v>27.1783604540704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57D-4DB6-AA60-2FC79B0E3AC3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A57D-4DB6-AA60-2FC79B0E3AC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A57D-4DB6-AA60-2FC79B0E3AC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A57D-4DB6-AA60-2FC79B0E3AC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 w="317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A57D-4DB6-AA60-2FC79B0E3AC3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0">
                  <c:v>23.058560143520779</c:v>
                </c:pt>
                <c:pt idx="1">
                  <c:v>18.851733349732271</c:v>
                </c:pt>
                <c:pt idx="2">
                  <c:v>13.947771226013323</c:v>
                </c:pt>
                <c:pt idx="3">
                  <c:v>17.99747327460264</c:v>
                </c:pt>
                <c:pt idx="4">
                  <c:v>11.827492280634017</c:v>
                </c:pt>
                <c:pt idx="5">
                  <c:v>11.568830383577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57D-4DB6-AA60-2FC79B0E3AC3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A57D-4DB6-AA60-2FC79B0E3AC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A57D-4DB6-AA60-2FC79B0E3AC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C-A57D-4DB6-AA60-2FC79B0E3AC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D-A57D-4DB6-AA60-2FC79B0E3AC3}"/>
              </c:ext>
            </c:extLst>
          </c:dPt>
          <c:val>
            <c:numRef>
              <c:f>Sheet1!$A$3:$F$3</c:f>
              <c:numCache>
                <c:formatCode>General</c:formatCode>
                <c:ptCount val="6"/>
                <c:pt idx="0">
                  <c:v>17.942204579260657</c:v>
                </c:pt>
                <c:pt idx="1">
                  <c:v>11.992532660014355</c:v>
                </c:pt>
                <c:pt idx="2">
                  <c:v>10.86621646916684</c:v>
                </c:pt>
                <c:pt idx="3">
                  <c:v>10.154923116695347</c:v>
                </c:pt>
                <c:pt idx="4">
                  <c:v>11.138090859728205</c:v>
                </c:pt>
                <c:pt idx="5">
                  <c:v>9.92332794064055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A57D-4DB6-AA60-2FC79B0E3AC3}"/>
            </c:ext>
          </c:extLst>
        </c:ser>
        <c:ser>
          <c:idx val="3"/>
          <c:order val="3"/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A57D-4DB6-AA60-2FC79B0E3AC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0-A57D-4DB6-AA60-2FC79B0E3AC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1-A57D-4DB6-AA60-2FC79B0E3AC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2-A57D-4DB6-AA60-2FC79B0E3AC3}"/>
              </c:ext>
            </c:extLst>
          </c:dPt>
          <c:val>
            <c:numRef>
              <c:f>Sheet1!$A$4:$F$4</c:f>
              <c:numCache>
                <c:formatCode>General</c:formatCode>
                <c:ptCount val="6"/>
                <c:pt idx="0">
                  <c:v>10.122191701540395</c:v>
                </c:pt>
                <c:pt idx="1">
                  <c:v>11.470670057901533</c:v>
                </c:pt>
                <c:pt idx="2">
                  <c:v>8.8728765073875167</c:v>
                </c:pt>
                <c:pt idx="3">
                  <c:v>8.3099583558490338</c:v>
                </c:pt>
                <c:pt idx="4">
                  <c:v>6.0576828042011144</c:v>
                </c:pt>
                <c:pt idx="5">
                  <c:v>6.14047698784319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A57D-4DB6-AA60-2FC79B0E3AC3}"/>
            </c:ext>
          </c:extLst>
        </c:ser>
        <c:ser>
          <c:idx val="4"/>
          <c:order val="4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4-A57D-4DB6-AA60-2FC79B0E3AC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5-A57D-4DB6-AA60-2FC79B0E3AC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6-A57D-4DB6-AA60-2FC79B0E3AC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7-A57D-4DB6-AA60-2FC79B0E3AC3}"/>
              </c:ext>
            </c:extLst>
          </c:dPt>
          <c:val>
            <c:numRef>
              <c:f>Sheet1!$A$5:$F$5</c:f>
              <c:numCache>
                <c:formatCode>General</c:formatCode>
                <c:ptCount val="6"/>
                <c:pt idx="0">
                  <c:v>6.6361678859985229</c:v>
                </c:pt>
                <c:pt idx="1">
                  <c:v>9.3315659377762099</c:v>
                </c:pt>
                <c:pt idx="2">
                  <c:v>8.4238402577610394</c:v>
                </c:pt>
                <c:pt idx="3">
                  <c:v>6.9073725890352211</c:v>
                </c:pt>
                <c:pt idx="4">
                  <c:v>5.4422555307011455</c:v>
                </c:pt>
                <c:pt idx="5">
                  <c:v>5.25941585179969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A57D-4DB6-AA60-2FC79B0E3AC3}"/>
            </c:ext>
          </c:extLst>
        </c:ser>
        <c:ser>
          <c:idx val="5"/>
          <c:order val="5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9-A57D-4DB6-AA60-2FC79B0E3AC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A-A57D-4DB6-AA60-2FC79B0E3AC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B-A57D-4DB6-AA60-2FC79B0E3AC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C-A57D-4DB6-AA60-2FC79B0E3AC3}"/>
              </c:ext>
            </c:extLst>
          </c:dPt>
          <c:val>
            <c:numRef>
              <c:f>Sheet1!$A$6:$F$6</c:f>
              <c:numCache>
                <c:formatCode>General</c:formatCode>
                <c:ptCount val="6"/>
                <c:pt idx="0">
                  <c:v>5.1849946356792191</c:v>
                </c:pt>
                <c:pt idx="1">
                  <c:v>5.264453366389354</c:v>
                </c:pt>
                <c:pt idx="2">
                  <c:v>8.099683477738207</c:v>
                </c:pt>
                <c:pt idx="3">
                  <c:v>6.4902706848176788</c:v>
                </c:pt>
                <c:pt idx="4">
                  <c:v>4.7001155490302153</c:v>
                </c:pt>
                <c:pt idx="5">
                  <c:v>5.03031112299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A57D-4DB6-AA60-2FC79B0E3AC3}"/>
            </c:ext>
          </c:extLst>
        </c:ser>
        <c:ser>
          <c:idx val="6"/>
          <c:order val="6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E-A57D-4DB6-AA60-2FC79B0E3AC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F-A57D-4DB6-AA60-2FC79B0E3AC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0-A57D-4DB6-AA60-2FC79B0E3AC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1-A57D-4DB6-AA60-2FC79B0E3AC3}"/>
              </c:ext>
            </c:extLst>
          </c:dPt>
          <c:val>
            <c:numRef>
              <c:f>Sheet1!$A$7:$F$7</c:f>
              <c:numCache>
                <c:formatCode>General</c:formatCode>
                <c:ptCount val="6"/>
                <c:pt idx="0">
                  <c:v>0.80883970102755276</c:v>
                </c:pt>
                <c:pt idx="1">
                  <c:v>3.4514063156947938</c:v>
                </c:pt>
                <c:pt idx="2">
                  <c:v>6.9041156304287199</c:v>
                </c:pt>
                <c:pt idx="3">
                  <c:v>6.4600556817568826</c:v>
                </c:pt>
                <c:pt idx="4">
                  <c:v>4.6244229554666116</c:v>
                </c:pt>
                <c:pt idx="5">
                  <c:v>4.48974976489147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A57D-4DB6-AA60-2FC79B0E3AC3}"/>
            </c:ext>
          </c:extLst>
        </c:ser>
        <c:ser>
          <c:idx val="7"/>
          <c:order val="7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3-A57D-4DB6-AA60-2FC79B0E3AC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4-A57D-4DB6-AA60-2FC79B0E3AC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5-A57D-4DB6-AA60-2FC79B0E3AC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6-A57D-4DB6-AA60-2FC79B0E3AC3}"/>
              </c:ext>
            </c:extLst>
          </c:dPt>
          <c:val>
            <c:numRef>
              <c:f>Sheet1!$A$8:$F$8</c:f>
              <c:numCache>
                <c:formatCode>General</c:formatCode>
                <c:ptCount val="6"/>
                <c:pt idx="0">
                  <c:v>0</c:v>
                </c:pt>
                <c:pt idx="1">
                  <c:v>2.6966652350951081</c:v>
                </c:pt>
                <c:pt idx="2">
                  <c:v>3.8949941537050892</c:v>
                </c:pt>
                <c:pt idx="3">
                  <c:v>5.0266642805997686</c:v>
                </c:pt>
                <c:pt idx="4">
                  <c:v>4.0166318620815211</c:v>
                </c:pt>
                <c:pt idx="5">
                  <c:v>4.44544736414892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7-A57D-4DB6-AA60-2FC79B0E3AC3}"/>
            </c:ext>
          </c:extLst>
        </c:ser>
        <c:ser>
          <c:idx val="8"/>
          <c:order val="8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8-A57D-4DB6-AA60-2FC79B0E3AC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9-A57D-4DB6-AA60-2FC79B0E3AC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A-A57D-4DB6-AA60-2FC79B0E3AC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B-A57D-4DB6-AA60-2FC79B0E3AC3}"/>
              </c:ext>
            </c:extLst>
          </c:dPt>
          <c:val>
            <c:numRef>
              <c:f>Sheet1!$A$9:$F$9</c:f>
              <c:numCache>
                <c:formatCode>General</c:formatCode>
                <c:ptCount val="6"/>
                <c:pt idx="0">
                  <c:v>0</c:v>
                </c:pt>
                <c:pt idx="1">
                  <c:v>2.5978794811231887</c:v>
                </c:pt>
                <c:pt idx="2">
                  <c:v>2.8216677017708802</c:v>
                </c:pt>
                <c:pt idx="3">
                  <c:v>2.8358198259721967</c:v>
                </c:pt>
                <c:pt idx="4">
                  <c:v>3.8535957158772782</c:v>
                </c:pt>
                <c:pt idx="5">
                  <c:v>3.57856258188518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C-A57D-4DB6-AA60-2FC79B0E3AC3}"/>
            </c:ext>
          </c:extLst>
        </c:ser>
        <c:ser>
          <c:idx val="9"/>
          <c:order val="9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D-A57D-4DB6-AA60-2FC79B0E3AC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E-A57D-4DB6-AA60-2FC79B0E3AC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F-A57D-4DB6-AA60-2FC79B0E3AC3}"/>
              </c:ext>
            </c:extLst>
          </c:dPt>
          <c:val>
            <c:numRef>
              <c:f>Sheet1!$A$10:$F$10</c:f>
              <c:numCache>
                <c:formatCode>General</c:formatCode>
                <c:ptCount val="6"/>
                <c:pt idx="0">
                  <c:v>0</c:v>
                </c:pt>
                <c:pt idx="1">
                  <c:v>1.8293339983910362</c:v>
                </c:pt>
                <c:pt idx="2">
                  <c:v>2.5549821044129728</c:v>
                </c:pt>
                <c:pt idx="3">
                  <c:v>2.6982354325038593</c:v>
                </c:pt>
                <c:pt idx="4">
                  <c:v>2.9985394694933221</c:v>
                </c:pt>
                <c:pt idx="5">
                  <c:v>3.34577808868704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0-A57D-4DB6-AA60-2FC79B0E3AC3}"/>
            </c:ext>
          </c:extLst>
        </c:ser>
        <c:ser>
          <c:idx val="10"/>
          <c:order val="10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31-A57D-4DB6-AA60-2FC79B0E3AC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32-A57D-4DB6-AA60-2FC79B0E3AC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33-A57D-4DB6-AA60-2FC79B0E3AC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34-A57D-4DB6-AA60-2FC79B0E3AC3}"/>
              </c:ext>
            </c:extLst>
          </c:dPt>
          <c:val>
            <c:numRef>
              <c:f>Sheet1!$A$11:$F$11</c:f>
              <c:numCache>
                <c:formatCode>General</c:formatCode>
                <c:ptCount val="6"/>
                <c:pt idx="0">
                  <c:v>0</c:v>
                </c:pt>
                <c:pt idx="1">
                  <c:v>0.4206696546061095</c:v>
                </c:pt>
                <c:pt idx="2">
                  <c:v>2.5535808727112141</c:v>
                </c:pt>
                <c:pt idx="3">
                  <c:v>2.1578753894968328</c:v>
                </c:pt>
                <c:pt idx="4">
                  <c:v>1.7539924944405261</c:v>
                </c:pt>
                <c:pt idx="5">
                  <c:v>2.60339910950158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5-A57D-4DB6-AA60-2FC79B0E3AC3}"/>
            </c:ext>
          </c:extLst>
        </c:ser>
        <c:ser>
          <c:idx val="11"/>
          <c:order val="11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36-A57D-4DB6-AA60-2FC79B0E3AC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37-A57D-4DB6-AA60-2FC79B0E3AC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38-A57D-4DB6-AA60-2FC79B0E3AC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39-A57D-4DB6-AA60-2FC79B0E3AC3}"/>
              </c:ext>
            </c:extLst>
          </c:dPt>
          <c:val>
            <c:numRef>
              <c:f>Sheet1!$A$12:$F$12</c:f>
              <c:numCache>
                <c:formatCode>General</c:formatCode>
                <c:ptCount val="6"/>
                <c:pt idx="0">
                  <c:v>0</c:v>
                </c:pt>
                <c:pt idx="1">
                  <c:v>0.17228870843816191</c:v>
                </c:pt>
                <c:pt idx="2">
                  <c:v>2.1274760255936775</c:v>
                </c:pt>
                <c:pt idx="3">
                  <c:v>1.9539271049732077</c:v>
                </c:pt>
                <c:pt idx="4">
                  <c:v>1.6916422505810824</c:v>
                </c:pt>
                <c:pt idx="5">
                  <c:v>1.71563347333352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A-A57D-4DB6-AA60-2FC79B0E3AC3}"/>
            </c:ext>
          </c:extLst>
        </c:ser>
        <c:ser>
          <c:idx val="12"/>
          <c:order val="12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3B-A57D-4DB6-AA60-2FC79B0E3AC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3C-A57D-4DB6-AA60-2FC79B0E3AC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3D-A57D-4DB6-AA60-2FC79B0E3AC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3E-A57D-4DB6-AA60-2FC79B0E3AC3}"/>
              </c:ext>
            </c:extLst>
          </c:dPt>
          <c:val>
            <c:numRef>
              <c:f>Sheet1!$A$13:$F$13</c:f>
              <c:numCache>
                <c:formatCode>General</c:formatCode>
                <c:ptCount val="6"/>
                <c:pt idx="0">
                  <c:v>0</c:v>
                </c:pt>
                <c:pt idx="1">
                  <c:v>0.11271682138068728</c:v>
                </c:pt>
                <c:pt idx="2">
                  <c:v>1.9951730206699603</c:v>
                </c:pt>
                <c:pt idx="3">
                  <c:v>1.8591800090815069</c:v>
                </c:pt>
                <c:pt idx="4">
                  <c:v>1.6668446978806095</c:v>
                </c:pt>
                <c:pt idx="5">
                  <c:v>1.52225291889072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F-A57D-4DB6-AA60-2FC79B0E3AC3}"/>
            </c:ext>
          </c:extLst>
        </c:ser>
        <c:ser>
          <c:idx val="13"/>
          <c:order val="13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40-A57D-4DB6-AA60-2FC79B0E3AC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41-A57D-4DB6-AA60-2FC79B0E3AC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42-A57D-4DB6-AA60-2FC79B0E3AC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43-A57D-4DB6-AA60-2FC79B0E3AC3}"/>
              </c:ext>
            </c:extLst>
          </c:dPt>
          <c:val>
            <c:numRef>
              <c:f>Sheet1!$A$14:$F$14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1.4378618676813781</c:v>
                </c:pt>
                <c:pt idx="3">
                  <c:v>1.7224796524306307</c:v>
                </c:pt>
                <c:pt idx="4">
                  <c:v>1.4132091606436359</c:v>
                </c:pt>
                <c:pt idx="5">
                  <c:v>1.46872168052608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44-A57D-4DB6-AA60-2FC79B0E3AC3}"/>
            </c:ext>
          </c:extLst>
        </c:ser>
        <c:ser>
          <c:idx val="14"/>
          <c:order val="14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45-A57D-4DB6-AA60-2FC79B0E3AC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46-A57D-4DB6-AA60-2FC79B0E3AC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47-A57D-4DB6-AA60-2FC79B0E3AC3}"/>
              </c:ext>
            </c:extLst>
          </c:dPt>
          <c:val>
            <c:numRef>
              <c:f>Sheet1!$A$15:$F$15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1.3434278296516999</c:v>
                </c:pt>
                <c:pt idx="3">
                  <c:v>1.7030716991514483</c:v>
                </c:pt>
                <c:pt idx="4">
                  <c:v>1.2796418632041173</c:v>
                </c:pt>
                <c:pt idx="5">
                  <c:v>1.3062381433201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48-A57D-4DB6-AA60-2FC79B0E3AC3}"/>
            </c:ext>
          </c:extLst>
        </c:ser>
        <c:ser>
          <c:idx val="15"/>
          <c:order val="15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49-A57D-4DB6-AA60-2FC79B0E3AC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4A-A57D-4DB6-AA60-2FC79B0E3AC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4B-A57D-4DB6-AA60-2FC79B0E3AC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4C-A57D-4DB6-AA60-2FC79B0E3AC3}"/>
              </c:ext>
            </c:extLst>
          </c:dPt>
          <c:val>
            <c:numRef>
              <c:f>Sheet1!$A$16:$F$16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.31123950224213326</c:v>
                </c:pt>
                <c:pt idx="3">
                  <c:v>1.4526212325321808</c:v>
                </c:pt>
                <c:pt idx="4">
                  <c:v>1.1197008036419875</c:v>
                </c:pt>
                <c:pt idx="5">
                  <c:v>1.18278104760178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4D-A57D-4DB6-AA60-2FC79B0E3AC3}"/>
            </c:ext>
          </c:extLst>
        </c:ser>
        <c:ser>
          <c:idx val="16"/>
          <c:order val="16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4E-A57D-4DB6-AA60-2FC79B0E3AC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4F-A57D-4DB6-AA60-2FC79B0E3AC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50-A57D-4DB6-AA60-2FC79B0E3AC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 w="317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51-A57D-4DB6-AA60-2FC79B0E3AC3}"/>
              </c:ext>
            </c:extLst>
          </c:dPt>
          <c:val>
            <c:numRef>
              <c:f>Sheet1!$A$17:$F$17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.25244677031273088</c:v>
                </c:pt>
                <c:pt idx="3">
                  <c:v>1.099607418626336</c:v>
                </c:pt>
                <c:pt idx="4">
                  <c:v>1.1090505207677515</c:v>
                </c:pt>
                <c:pt idx="5">
                  <c:v>1.09521345441069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52-A57D-4DB6-AA60-2FC79B0E3AC3}"/>
            </c:ext>
          </c:extLst>
        </c:ser>
        <c:ser>
          <c:idx val="17"/>
          <c:order val="17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53-A57D-4DB6-AA60-2FC79B0E3AC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54-A57D-4DB6-AA60-2FC79B0E3AC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55-A57D-4DB6-AA60-2FC79B0E3AC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56-A57D-4DB6-AA60-2FC79B0E3AC3}"/>
              </c:ext>
            </c:extLst>
          </c:dPt>
          <c:val>
            <c:numRef>
              <c:f>Sheet1!$A$18:$F$18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.14109203269283555</c:v>
                </c:pt>
                <c:pt idx="3">
                  <c:v>1.0350635806422703</c:v>
                </c:pt>
                <c:pt idx="4">
                  <c:v>1.0785075040090852</c:v>
                </c:pt>
                <c:pt idx="5">
                  <c:v>0.975755774027997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57-A57D-4DB6-AA60-2FC79B0E3AC3}"/>
            </c:ext>
          </c:extLst>
        </c:ser>
        <c:ser>
          <c:idx val="18"/>
          <c:order val="18"/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58-A57D-4DB6-AA60-2FC79B0E3AC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59-A57D-4DB6-AA60-2FC79B0E3AC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5A-A57D-4DB6-AA60-2FC79B0E3AC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5B-A57D-4DB6-AA60-2FC79B0E3AC3}"/>
              </c:ext>
            </c:extLst>
          </c:dPt>
          <c:val>
            <c:numRef>
              <c:f>Sheet1!$A$19:$F$19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9.2306951462139963E-2</c:v>
                </c:pt>
                <c:pt idx="3">
                  <c:v>0.66214584275822164</c:v>
                </c:pt>
                <c:pt idx="4">
                  <c:v>0.86652735428992544</c:v>
                </c:pt>
                <c:pt idx="5">
                  <c:v>0.962902495542916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5C-A57D-4DB6-AA60-2FC79B0E3AC3}"/>
            </c:ext>
          </c:extLst>
        </c:ser>
        <c:ser>
          <c:idx val="19"/>
          <c:order val="19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5D-A57D-4DB6-AA60-2FC79B0E3AC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5E-A57D-4DB6-AA60-2FC79B0E3AC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5F-A57D-4DB6-AA60-2FC79B0E3AC3}"/>
              </c:ext>
            </c:extLst>
          </c:dPt>
          <c:val>
            <c:numRef>
              <c:f>Sheet1!$A$20:$F$20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34679681264162543</c:v>
                </c:pt>
                <c:pt idx="4">
                  <c:v>0.72014134119060547</c:v>
                </c:pt>
                <c:pt idx="5">
                  <c:v>0.8088980946793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60-A57D-4DB6-AA60-2FC79B0E3AC3}"/>
            </c:ext>
          </c:extLst>
        </c:ser>
        <c:ser>
          <c:idx val="20"/>
          <c:order val="2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61-A57D-4DB6-AA60-2FC79B0E3AC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62-A57D-4DB6-AA60-2FC79B0E3AC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63-A57D-4DB6-AA60-2FC79B0E3AC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64-A57D-4DB6-AA60-2FC79B0E3AC3}"/>
              </c:ext>
            </c:extLst>
          </c:dPt>
          <c:val>
            <c:numRef>
              <c:f>Sheet1!$A$21:$F$21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30303509416794716</c:v>
                </c:pt>
                <c:pt idx="4">
                  <c:v>0.64056948610992093</c:v>
                </c:pt>
                <c:pt idx="5">
                  <c:v>0.765339608201698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65-A57D-4DB6-AA60-2FC79B0E3AC3}"/>
            </c:ext>
          </c:extLst>
        </c:ser>
        <c:ser>
          <c:idx val="21"/>
          <c:order val="21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66-A57D-4DB6-AA60-2FC79B0E3AC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67-A57D-4DB6-AA60-2FC79B0E3AC3}"/>
              </c:ext>
            </c:extLst>
          </c:dPt>
          <c:val>
            <c:numRef>
              <c:f>Sheet1!$A$22:$F$22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22660345978808838</c:v>
                </c:pt>
                <c:pt idx="4">
                  <c:v>0.49188874426012719</c:v>
                </c:pt>
                <c:pt idx="5">
                  <c:v>0.752338451925849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68-A57D-4DB6-AA60-2FC79B0E3AC3}"/>
            </c:ext>
          </c:extLst>
        </c:ser>
        <c:ser>
          <c:idx val="22"/>
          <c:order val="22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69-A57D-4DB6-AA60-2FC79B0E3AC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6A-A57D-4DB6-AA60-2FC79B0E3AC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6B-A57D-4DB6-AA60-2FC79B0E3AC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6C-A57D-4DB6-AA60-2FC79B0E3AC3}"/>
              </c:ext>
            </c:extLst>
          </c:dPt>
          <c:val>
            <c:numRef>
              <c:f>Sheet1!$A$23:$F$23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21528543754101293</c:v>
                </c:pt>
                <c:pt idx="4">
                  <c:v>0.4799830339275446</c:v>
                </c:pt>
                <c:pt idx="5">
                  <c:v>0.665631185136461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6D-A57D-4DB6-AA60-2FC79B0E3AC3}"/>
            </c:ext>
          </c:extLst>
        </c:ser>
        <c:ser>
          <c:idx val="23"/>
          <c:order val="23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6E-A57D-4DB6-AA60-2FC79B0E3AC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6F-A57D-4DB6-AA60-2FC79B0E3AC3}"/>
              </c:ext>
            </c:extLst>
          </c:dPt>
          <c:val>
            <c:numRef>
              <c:f>Sheet1!$A$24:$F$24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11294597211165547</c:v>
                </c:pt>
                <c:pt idx="4">
                  <c:v>0.39852385217652442</c:v>
                </c:pt>
                <c:pt idx="5">
                  <c:v>0.570706520488151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70-A57D-4DB6-AA60-2FC79B0E3AC3}"/>
            </c:ext>
          </c:extLst>
        </c:ser>
        <c:ser>
          <c:idx val="24"/>
          <c:order val="24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71-A57D-4DB6-AA60-2FC79B0E3AC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72-A57D-4DB6-AA60-2FC79B0E3AC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73-A57D-4DB6-AA60-2FC79B0E3AC3}"/>
              </c:ext>
            </c:extLst>
          </c:dPt>
          <c:val>
            <c:numRef>
              <c:f>Sheet1!$A$25:$F$25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7.3892892224836082E-2</c:v>
                </c:pt>
                <c:pt idx="4">
                  <c:v>0.2513896116824399</c:v>
                </c:pt>
                <c:pt idx="5">
                  <c:v>0.487796002619245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74-A57D-4DB6-AA60-2FC79B0E3AC3}"/>
            </c:ext>
          </c:extLst>
        </c:ser>
        <c:ser>
          <c:idx val="25"/>
          <c:order val="25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75-A57D-4DB6-AA60-2FC79B0E3AC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76-A57D-4DB6-AA60-2FC79B0E3AC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77-A57D-4DB6-AA60-2FC79B0E3AC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78-A57D-4DB6-AA60-2FC79B0E3AC3}"/>
              </c:ext>
            </c:extLst>
          </c:dPt>
          <c:val>
            <c:numRef>
              <c:f>Sheet1!$A$26:$F$26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.21966717072383624</c:v>
                </c:pt>
                <c:pt idx="5">
                  <c:v>0.477563880977627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79-A57D-4DB6-AA60-2FC79B0E3AC3}"/>
            </c:ext>
          </c:extLst>
        </c:ser>
        <c:ser>
          <c:idx val="26"/>
          <c:order val="26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7A-A57D-4DB6-AA60-2FC79B0E3AC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7B-A57D-4DB6-AA60-2FC79B0E3AC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7C-A57D-4DB6-AA60-2FC79B0E3AC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7D-A57D-4DB6-AA60-2FC79B0E3AC3}"/>
              </c:ext>
            </c:extLst>
          </c:dPt>
          <c:val>
            <c:numRef>
              <c:f>Sheet1!$A$27:$F$27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.14649078494368695</c:v>
                </c:pt>
                <c:pt idx="5">
                  <c:v>0.431462691066930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7E-A57D-4DB6-AA60-2FC79B0E3AC3}"/>
            </c:ext>
          </c:extLst>
        </c:ser>
        <c:ser>
          <c:idx val="27"/>
          <c:order val="27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7F-A57D-4DB6-AA60-2FC79B0E3AC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80-A57D-4DB6-AA60-2FC79B0E3AC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81-A57D-4DB6-AA60-2FC79B0E3AC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82-A57D-4DB6-AA60-2FC79B0E3AC3}"/>
              </c:ext>
            </c:extLst>
          </c:dPt>
          <c:val>
            <c:numRef>
              <c:f>Sheet1!$A$28:$F$28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.13517501471518312</c:v>
                </c:pt>
                <c:pt idx="5">
                  <c:v>0.397395674840872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83-A57D-4DB6-AA60-2FC79B0E3AC3}"/>
            </c:ext>
          </c:extLst>
        </c:ser>
        <c:ser>
          <c:idx val="28"/>
          <c:order val="28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84-A57D-4DB6-AA60-2FC79B0E3AC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85-A57D-4DB6-AA60-2FC79B0E3AC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86-A57D-4DB6-AA60-2FC79B0E3AC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87-A57D-4DB6-AA60-2FC79B0E3AC3}"/>
              </c:ext>
            </c:extLst>
          </c:dPt>
          <c:val>
            <c:numRef>
              <c:f>Sheet1!$A$29:$F$29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7.1525513888059944E-2</c:v>
                </c:pt>
                <c:pt idx="5">
                  <c:v>0.255481629580278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88-A57D-4DB6-AA60-2FC79B0E3AC3}"/>
            </c:ext>
          </c:extLst>
        </c:ser>
        <c:ser>
          <c:idx val="29"/>
          <c:order val="29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89-A57D-4DB6-AA60-2FC79B0E3AC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8A-A57D-4DB6-AA60-2FC79B0E3AC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8B-A57D-4DB6-AA60-2FC79B0E3AC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8C-A57D-4DB6-AA60-2FC79B0E3AC3}"/>
              </c:ext>
            </c:extLst>
          </c:dPt>
          <c:val>
            <c:numRef>
              <c:f>Sheet1!$A$30:$F$30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4.679429456618811E-2</c:v>
                </c:pt>
                <c:pt idx="5">
                  <c:v>0.223242823624347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8D-A57D-4DB6-AA60-2FC79B0E3AC3}"/>
            </c:ext>
          </c:extLst>
        </c:ser>
        <c:ser>
          <c:idx val="30"/>
          <c:order val="3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8E-A57D-4DB6-AA60-2FC79B0E3AC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8F-A57D-4DB6-AA60-2FC79B0E3AC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90-A57D-4DB6-AA60-2FC79B0E3AC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91-A57D-4DB6-AA60-2FC79B0E3AC3}"/>
              </c:ext>
            </c:extLst>
          </c:dPt>
          <c:val>
            <c:numRef>
              <c:f>Sheet1!$A$31:$F$31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.138553417890840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92-A57D-4DB6-AA60-2FC79B0E3AC3}"/>
            </c:ext>
          </c:extLst>
        </c:ser>
        <c:ser>
          <c:idx val="31"/>
          <c:order val="31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93-A57D-4DB6-AA60-2FC79B0E3AC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94-A57D-4DB6-AA60-2FC79B0E3AC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95-A57D-4DB6-AA60-2FC79B0E3AC3}"/>
              </c:ext>
            </c:extLst>
          </c:dPt>
          <c:val>
            <c:numRef>
              <c:f>Sheet1!$A$32:$F$32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.117361974560170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96-A57D-4DB6-AA60-2FC79B0E3AC3}"/>
            </c:ext>
          </c:extLst>
        </c:ser>
        <c:ser>
          <c:idx val="32"/>
          <c:order val="32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97-A57D-4DB6-AA60-2FC79B0E3AC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98-A57D-4DB6-AA60-2FC79B0E3AC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99-A57D-4DB6-AA60-2FC79B0E3AC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9A-A57D-4DB6-AA60-2FC79B0E3AC3}"/>
              </c:ext>
            </c:extLst>
          </c:dPt>
          <c:val>
            <c:numRef>
              <c:f>Sheet1!$A$33:$F$33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6.471112431500891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9B-A57D-4DB6-AA60-2FC79B0E3AC3}"/>
            </c:ext>
          </c:extLst>
        </c:ser>
        <c:ser>
          <c:idx val="33"/>
          <c:order val="33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9C-A57D-4DB6-AA60-2FC79B0E3AC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9D-A57D-4DB6-AA60-2FC79B0E3AC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9E-A57D-4DB6-AA60-2FC79B0E3AC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9F-A57D-4DB6-AA60-2FC79B0E3AC3}"/>
              </c:ext>
            </c:extLst>
          </c:dPt>
          <c:val>
            <c:numRef>
              <c:f>Sheet1!$A$34:$F$34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4.233610145946142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A0-A57D-4DB6-AA60-2FC79B0E3AC3}"/>
            </c:ext>
          </c:extLst>
        </c:ser>
        <c:ser>
          <c:idx val="34"/>
          <c:order val="34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A1-A57D-4DB6-AA60-2FC79B0E3AC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A2-A57D-4DB6-AA60-2FC79B0E3AC3}"/>
              </c:ext>
            </c:extLst>
          </c:dPt>
          <c:val>
            <c:numRef>
              <c:f>Sheet1!$A$35:$F$35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8.0221809446889836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A3-A57D-4DB6-AA60-2FC79B0E3A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25145520"/>
        <c:axId val="1"/>
      </c:barChart>
      <c:catAx>
        <c:axId val="9251455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9251455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110891740704178E-2"/>
          <c:y val="3.270440251572327E-2"/>
          <c:w val="0.96577821651859164"/>
          <c:h val="0.93459119496855347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42E2-4BD4-BD95-1C46266407CB}"/>
              </c:ext>
            </c:extLst>
          </c:dPt>
          <c:dPt>
            <c:idx val="1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42E2-4BD4-BD95-1C46266407CB}"/>
              </c:ext>
            </c:extLst>
          </c:dPt>
          <c:dPt>
            <c:idx val="2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42E2-4BD4-BD95-1C46266407CB}"/>
              </c:ext>
            </c:extLst>
          </c:dPt>
          <c:dPt>
            <c:idx val="3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42E2-4BD4-BD95-1C46266407CB}"/>
              </c:ext>
            </c:extLst>
          </c:dPt>
          <c:dPt>
            <c:idx val="4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42E2-4BD4-BD95-1C46266407CB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30000</c:v>
                </c:pt>
                <c:pt idx="1">
                  <c:v>104517.64975033142</c:v>
                </c:pt>
                <c:pt idx="2">
                  <c:v>323909.31899505953</c:v>
                </c:pt>
                <c:pt idx="3">
                  <c:v>323909.31899505953</c:v>
                </c:pt>
                <c:pt idx="4">
                  <c:v>323909.318995059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2E2-4BD4-BD95-1C46266407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86774247"/>
        <c:axId val="1"/>
      </c:lineChart>
      <c:catAx>
        <c:axId val="7867742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23909.3189950595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86774247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514657469822856E-2"/>
          <c:y val="6.9513991163475702E-2"/>
          <c:w val="0.94967863301457911"/>
          <c:h val="0.9151693667157584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BC$1</c:f>
              <c:numCache>
                <c:formatCode>General</c:formatCode>
                <c:ptCount val="55"/>
                <c:pt idx="1">
                  <c:v>86.417999999999978</c:v>
                </c:pt>
                <c:pt idx="2">
                  <c:v>85.58299999999997</c:v>
                </c:pt>
                <c:pt idx="3">
                  <c:v>83.106000000000009</c:v>
                </c:pt>
                <c:pt idx="4">
                  <c:v>82.278999999999954</c:v>
                </c:pt>
                <c:pt idx="5">
                  <c:v>82.02</c:v>
                </c:pt>
                <c:pt idx="6">
                  <c:v>79.153999999999968</c:v>
                </c:pt>
                <c:pt idx="7">
                  <c:v>78.548999999999992</c:v>
                </c:pt>
                <c:pt idx="8">
                  <c:v>77.338999999999984</c:v>
                </c:pt>
                <c:pt idx="9">
                  <c:v>75.937000000000012</c:v>
                </c:pt>
                <c:pt idx="10">
                  <c:v>74.88600000000001</c:v>
                </c:pt>
                <c:pt idx="11">
                  <c:v>74.416000000000011</c:v>
                </c:pt>
                <c:pt idx="12">
                  <c:v>73.841000000000008</c:v>
                </c:pt>
                <c:pt idx="13">
                  <c:v>73.384000000000015</c:v>
                </c:pt>
                <c:pt idx="14">
                  <c:v>72.031999999999968</c:v>
                </c:pt>
                <c:pt idx="15">
                  <c:v>70.99799999999999</c:v>
                </c:pt>
                <c:pt idx="16">
                  <c:v>70.135999999999981</c:v>
                </c:pt>
                <c:pt idx="17">
                  <c:v>70.057000000000031</c:v>
                </c:pt>
                <c:pt idx="18">
                  <c:v>68.228999999999999</c:v>
                </c:pt>
                <c:pt idx="19">
                  <c:v>68.12299999999999</c:v>
                </c:pt>
                <c:pt idx="20">
                  <c:v>67.605000000000004</c:v>
                </c:pt>
                <c:pt idx="21">
                  <c:v>64.043999999999997</c:v>
                </c:pt>
                <c:pt idx="22">
                  <c:v>63.317999999999998</c:v>
                </c:pt>
                <c:pt idx="23">
                  <c:v>62.539000000000001</c:v>
                </c:pt>
                <c:pt idx="24">
                  <c:v>62.407999999999994</c:v>
                </c:pt>
                <c:pt idx="25">
                  <c:v>62.331999999999987</c:v>
                </c:pt>
                <c:pt idx="26">
                  <c:v>62.26900000000002</c:v>
                </c:pt>
                <c:pt idx="27">
                  <c:v>61.813000000000009</c:v>
                </c:pt>
                <c:pt idx="28">
                  <c:v>60.811999999999976</c:v>
                </c:pt>
                <c:pt idx="29">
                  <c:v>60.289000000000016</c:v>
                </c:pt>
                <c:pt idx="30">
                  <c:v>60.118000000000002</c:v>
                </c:pt>
                <c:pt idx="31">
                  <c:v>57.375000000000021</c:v>
                </c:pt>
                <c:pt idx="32">
                  <c:v>56.879999999999974</c:v>
                </c:pt>
                <c:pt idx="33">
                  <c:v>56.169000000000025</c:v>
                </c:pt>
                <c:pt idx="34">
                  <c:v>56.079000000000001</c:v>
                </c:pt>
                <c:pt idx="35">
                  <c:v>54.95900000000001</c:v>
                </c:pt>
                <c:pt idx="36">
                  <c:v>54.563000000000002</c:v>
                </c:pt>
                <c:pt idx="37">
                  <c:v>54.239000000000004</c:v>
                </c:pt>
                <c:pt idx="38">
                  <c:v>53.162999999999997</c:v>
                </c:pt>
                <c:pt idx="39">
                  <c:v>52.676000000000009</c:v>
                </c:pt>
                <c:pt idx="40">
                  <c:v>50.914000000000016</c:v>
                </c:pt>
                <c:pt idx="41">
                  <c:v>50.466000000000008</c:v>
                </c:pt>
                <c:pt idx="42">
                  <c:v>47.339000000000006</c:v>
                </c:pt>
                <c:pt idx="43">
                  <c:v>46.935000000000016</c:v>
                </c:pt>
                <c:pt idx="44">
                  <c:v>46.478999999999985</c:v>
                </c:pt>
                <c:pt idx="45">
                  <c:v>43.231000000000016</c:v>
                </c:pt>
                <c:pt idx="46">
                  <c:v>43.076999999999991</c:v>
                </c:pt>
                <c:pt idx="47">
                  <c:v>41.384999999999998</c:v>
                </c:pt>
                <c:pt idx="48">
                  <c:v>41.26700000000001</c:v>
                </c:pt>
                <c:pt idx="49">
                  <c:v>41.180000000000014</c:v>
                </c:pt>
                <c:pt idx="50">
                  <c:v>37.084000000000017</c:v>
                </c:pt>
                <c:pt idx="51">
                  <c:v>36.14800000000001</c:v>
                </c:pt>
                <c:pt idx="52">
                  <c:v>31.263999999999996</c:v>
                </c:pt>
                <c:pt idx="53">
                  <c:v>24.244999999999994</c:v>
                </c:pt>
                <c:pt idx="54">
                  <c:v>21.62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9F-4D82-A3BD-47F45AB25F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45802647"/>
        <c:axId val="1"/>
      </c:barChart>
      <c:catAx>
        <c:axId val="34580264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0"/>
          <c:min val="0"/>
        </c:scaling>
        <c:delete val="0"/>
        <c:axPos val="t"/>
        <c:majorGridlines>
          <c:spPr>
            <a:ln w="3175" cmpd="sng" algn="ctr">
              <a:solidFill>
                <a:schemeClr val="tx1"/>
              </a:solidFill>
              <a:prstDash val="solid"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5802647"/>
        <c:crosses val="min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262572318647086E-2"/>
          <c:y val="9.3618647306075664E-2"/>
          <c:w val="0.94659546061415223"/>
          <c:h val="0.8127627053878486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C15-48D6-9BFD-071A6E1B283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C15-48D6-9BFD-071A6E1B283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AC15-48D6-9BFD-071A6E1B283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C15-48D6-9BFD-071A6E1B283C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AC15-48D6-9BFD-071A6E1B283C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AC15-48D6-9BFD-071A6E1B283C}"/>
              </c:ext>
            </c:extLst>
          </c:dPt>
          <c:dPt>
            <c:idx val="6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AC15-48D6-9BFD-071A6E1B283C}"/>
              </c:ext>
            </c:extLst>
          </c:dPt>
          <c:dLbls>
            <c:dLbl>
              <c:idx val="0"/>
              <c:layout>
                <c:manualLayout>
                  <c:x val="2.091677792612372E-2"/>
                  <c:y val="-5.349636988918608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C15-48D6-9BFD-071A6E1B283C}"/>
                </c:ext>
              </c:extLst>
            </c:dLbl>
            <c:dLbl>
              <c:idx val="3"/>
              <c:layout>
                <c:manualLayout>
                  <c:x val="-2.4477080551846907E-2"/>
                  <c:y val="5.273213603362628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C15-48D6-9BFD-071A6E1B283C}"/>
                </c:ext>
              </c:extLst>
            </c:dLbl>
            <c:dLbl>
              <c:idx val="4"/>
              <c:layout>
                <c:manualLayout>
                  <c:x val="-6.3195371606586559E-2"/>
                  <c:y val="2.483760030569354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C15-48D6-9BFD-071A6E1B283C}"/>
                </c:ext>
              </c:extLst>
            </c:dLbl>
            <c:dLbl>
              <c:idx val="5"/>
              <c:layout>
                <c:manualLayout>
                  <c:x val="-7.699154428126391E-2"/>
                  <c:y val="3.821169277799006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C15-48D6-9BFD-071A6E1B283C}"/>
                </c:ext>
              </c:extLst>
            </c:dLbl>
            <c:dLbl>
              <c:idx val="6"/>
              <c:layout>
                <c:manualLayout>
                  <c:x val="-3.8273253226524258E-2"/>
                  <c:y val="-3.553687428353075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C15-48D6-9BFD-071A6E1B283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7</c:f>
              <c:numCache>
                <c:formatCode>General</c:formatCode>
                <c:ptCount val="7"/>
                <c:pt idx="0">
                  <c:v>10.122191701540391</c:v>
                </c:pt>
                <c:pt idx="1">
                  <c:v>36.247041352972865</c:v>
                </c:pt>
                <c:pt idx="2">
                  <c:v>0.80883970102755498</c:v>
                </c:pt>
                <c:pt idx="3">
                  <c:v>17.942204579260657</c:v>
                </c:pt>
                <c:pt idx="4">
                  <c:v>6.6361678859985274</c:v>
                </c:pt>
                <c:pt idx="5">
                  <c:v>5.1849946356792174</c:v>
                </c:pt>
                <c:pt idx="6">
                  <c:v>23.0585601435207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C15-48D6-9BFD-071A6E1B28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307933662034961E-2"/>
          <c:y val="9.3618647306075664E-2"/>
          <c:w val="0.95338413267593003"/>
          <c:h val="0.8127627053878486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AD8-4C50-80A9-E3BA072427C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AD8-4C50-80A9-E3BA072427C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7AD8-4C50-80A9-E3BA072427C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AD8-4C50-80A9-E3BA072427C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7AD8-4C50-80A9-E3BA072427C1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7AD8-4C50-80A9-E3BA072427C1}"/>
              </c:ext>
            </c:extLst>
          </c:dPt>
          <c:dPt>
            <c:idx val="6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7AD8-4C50-80A9-E3BA072427C1}"/>
              </c:ext>
            </c:extLst>
          </c:dPt>
          <c:dPt>
            <c:idx val="7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7AD8-4C50-80A9-E3BA072427C1}"/>
              </c:ext>
            </c:extLst>
          </c:dPt>
          <c:dPt>
            <c:idx val="8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7AD8-4C50-80A9-E3BA072427C1}"/>
              </c:ext>
            </c:extLst>
          </c:dPt>
          <c:dPt>
            <c:idx val="9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7AD8-4C50-80A9-E3BA072427C1}"/>
              </c:ext>
            </c:extLst>
          </c:dPt>
          <c:dLbls>
            <c:dLbl>
              <c:idx val="0"/>
              <c:layout>
                <c:manualLayout>
                  <c:x val="3.7651277454056477E-2"/>
                  <c:y val="-3.591899121131066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AD8-4C50-80A9-E3BA072427C1}"/>
                </c:ext>
              </c:extLst>
            </c:dLbl>
            <c:dLbl>
              <c:idx val="1"/>
              <c:layout>
                <c:manualLayout>
                  <c:x val="4.9305244285073956E-2"/>
                  <c:y val="2.369124952235384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AD8-4C50-80A9-E3BA072427C1}"/>
                </c:ext>
              </c:extLst>
            </c:dLbl>
            <c:dLbl>
              <c:idx val="2"/>
              <c:layout>
                <c:manualLayout>
                  <c:x val="1.344688480502017E-3"/>
                  <c:y val="6.878104700038212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AD8-4C50-80A9-E3BA072427C1}"/>
                </c:ext>
              </c:extLst>
            </c:dLbl>
            <c:dLbl>
              <c:idx val="3"/>
              <c:layout>
                <c:manualLayout>
                  <c:x val="-4.034065441506051E-2"/>
                  <c:y val="3.744745892243026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AD8-4C50-80A9-E3BA072427C1}"/>
                </c:ext>
              </c:extLst>
            </c:dLbl>
            <c:dLbl>
              <c:idx val="4"/>
              <c:layout>
                <c:manualLayout>
                  <c:x val="-7.0820259973106231E-2"/>
                  <c:y val="1.490256018341612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AD8-4C50-80A9-E3BA072427C1}"/>
                </c:ext>
              </c:extLst>
            </c:dLbl>
            <c:dLbl>
              <c:idx val="5"/>
              <c:layout>
                <c:manualLayout>
                  <c:x val="-7.1268489466606896E-2"/>
                  <c:y val="-1.184562476117692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AD8-4C50-80A9-E3BA072427C1}"/>
                </c:ext>
              </c:extLst>
            </c:dLbl>
            <c:dLbl>
              <c:idx val="6"/>
              <c:layout>
                <c:manualLayout>
                  <c:x val="-5.7373375168086063E-2"/>
                  <c:y val="-2.90408865112724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AD8-4C50-80A9-E3BA072427C1}"/>
                </c:ext>
              </c:extLst>
            </c:dLbl>
            <c:dLbl>
              <c:idx val="7"/>
              <c:layout>
                <c:manualLayout>
                  <c:x val="-4.3926490363065888E-2"/>
                  <c:y val="-4.241497898356897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7AD8-4C50-80A9-E3BA072427C1}"/>
                </c:ext>
              </c:extLst>
            </c:dLbl>
            <c:dLbl>
              <c:idx val="8"/>
              <c:layout>
                <c:manualLayout>
                  <c:x val="-2.7341999103541011E-2"/>
                  <c:y val="-5.464272067252579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7AD8-4C50-80A9-E3BA072427C1}"/>
                </c:ext>
              </c:extLst>
            </c:dLbl>
            <c:dLbl>
              <c:idx val="9"/>
              <c:layout>
                <c:manualLayout>
                  <c:x val="-9.4128193635141192E-3"/>
                  <c:y val="-6.457776079480320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7AD8-4C50-80A9-E3BA072427C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10</c:f>
              <c:numCache>
                <c:formatCode>General</c:formatCode>
                <c:ptCount val="10"/>
                <c:pt idx="0">
                  <c:v>22.774512155550795</c:v>
                </c:pt>
                <c:pt idx="1">
                  <c:v>20.018695447325946</c:v>
                </c:pt>
                <c:pt idx="2">
                  <c:v>13.831776879005933</c:v>
                </c:pt>
                <c:pt idx="3">
                  <c:v>11.030448184172812</c:v>
                </c:pt>
                <c:pt idx="4">
                  <c:v>7.7128291760739183</c:v>
                </c:pt>
                <c:pt idx="5">
                  <c:v>5.9209302638304528</c:v>
                </c:pt>
                <c:pt idx="6">
                  <c:v>4.9984251772208728</c:v>
                </c:pt>
                <c:pt idx="7">
                  <c:v>4.9880321880201928</c:v>
                </c:pt>
                <c:pt idx="8">
                  <c:v>4.9065172989247543</c:v>
                </c:pt>
                <c:pt idx="9">
                  <c:v>3.81783322987432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AD8-4C50-80A9-E3BA072427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427039904705182E-3"/>
          <c:y val="0.11472011057360056"/>
          <c:w val="0.94565217391304346"/>
          <c:h val="0.8185901865929509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8.223911541119557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A9D-45B1-98B1-4A5B75466860}"/>
                </c:ext>
              </c:extLst>
            </c:dLbl>
            <c:dLbl>
              <c:idx val="1"/>
              <c:layout>
                <c:manualLayout>
                  <c:x val="0"/>
                  <c:y val="-0.1268140981340704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A9D-45B1-98B1-4A5B75466860}"/>
                </c:ext>
              </c:extLst>
            </c:dLbl>
            <c:dLbl>
              <c:idx val="2"/>
              <c:layout>
                <c:manualLayout>
                  <c:x val="0"/>
                  <c:y val="-0.171389080856945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A9D-45B1-98B1-4A5B75466860}"/>
                </c:ext>
              </c:extLst>
            </c:dLbl>
            <c:dLbl>
              <c:idx val="3"/>
              <c:layout>
                <c:manualLayout>
                  <c:x val="0"/>
                  <c:y val="-0.2163096060815480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A9D-45B1-98B1-4A5B75466860}"/>
                </c:ext>
              </c:extLst>
            </c:dLbl>
            <c:dLbl>
              <c:idx val="4"/>
              <c:layout>
                <c:manualLayout>
                  <c:x val="0"/>
                  <c:y val="-0.2605390463026952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A9D-45B1-98B1-4A5B75466860}"/>
                </c:ext>
              </c:extLst>
            </c:dLbl>
            <c:dLbl>
              <c:idx val="5"/>
              <c:layout>
                <c:manualLayout>
                  <c:x val="-1.6229898749255508E-2"/>
                  <c:y val="-0.2982031789910158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A9D-45B1-98B1-4A5B75466860}"/>
                </c:ext>
              </c:extLst>
            </c:dLbl>
            <c:dLbl>
              <c:idx val="6"/>
              <c:layout>
                <c:manualLayout>
                  <c:x val="0"/>
                  <c:y val="-0.327919834139599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A9D-45B1-98B1-4A5B75466860}"/>
                </c:ext>
              </c:extLst>
            </c:dLbl>
            <c:dLbl>
              <c:idx val="7"/>
              <c:layout>
                <c:manualLayout>
                  <c:x val="0"/>
                  <c:y val="-0.3572909467864547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A9D-45B1-98B1-4A5B75466860}"/>
                </c:ext>
              </c:extLst>
            </c:dLbl>
            <c:dLbl>
              <c:idx val="8"/>
              <c:layout>
                <c:manualLayout>
                  <c:x val="0"/>
                  <c:y val="-0.3870076019350380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0A9D-45B1-98B1-4A5B75466860}"/>
                </c:ext>
              </c:extLst>
            </c:dLbl>
            <c:dLbl>
              <c:idx val="9"/>
              <c:layout>
                <c:manualLayout>
                  <c:x val="0"/>
                  <c:y val="-0.417069799585349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0A9D-45B1-98B1-4A5B75466860}"/>
                </c:ext>
              </c:extLst>
            </c:dLbl>
            <c:dLbl>
              <c:idx val="10"/>
              <c:layout>
                <c:manualLayout>
                  <c:x val="0"/>
                  <c:y val="-0.4319281271596406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0A9D-45B1-98B1-4A5B7546686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7</c:v>
                </c:pt>
                <c:pt idx="1">
                  <c:v>13</c:v>
                </c:pt>
                <c:pt idx="2">
                  <c:v>19</c:v>
                </c:pt>
                <c:pt idx="3">
                  <c:v>25</c:v>
                </c:pt>
                <c:pt idx="4">
                  <c:v>31</c:v>
                </c:pt>
                <c:pt idx="5">
                  <c:v>36</c:v>
                </c:pt>
                <c:pt idx="6">
                  <c:v>40</c:v>
                </c:pt>
                <c:pt idx="7">
                  <c:v>44</c:v>
                </c:pt>
                <c:pt idx="8">
                  <c:v>48</c:v>
                </c:pt>
                <c:pt idx="9">
                  <c:v>52</c:v>
                </c:pt>
                <c:pt idx="10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0A9D-45B1-98B1-4A5B754668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45797607"/>
        <c:axId val="1"/>
      </c:barChart>
      <c:lineChart>
        <c:grouping val="standard"/>
        <c:varyColors val="0"/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circle"/>
            <c:size val="7"/>
            <c:spPr>
              <a:solidFill>
                <a:schemeClr val="tx2"/>
              </a:solidFill>
              <a:ln w="9525" cmpd="sng" algn="ctr">
                <a:solidFill>
                  <a:schemeClr val="tx2"/>
                </a:solidFill>
                <a:prstDash val="solid"/>
              </a:ln>
            </c:spPr>
          </c:marker>
          <c:dLbls>
            <c:dLbl>
              <c:idx val="0"/>
              <c:layout>
                <c:manualLayout>
                  <c:x val="0"/>
                  <c:y val="-4.803040774015204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0A9D-45B1-98B1-4A5B75466860}"/>
                </c:ext>
              </c:extLst>
            </c:dLbl>
            <c:dLbl>
              <c:idx val="1"/>
              <c:layout>
                <c:manualLayout>
                  <c:x val="0"/>
                  <c:y val="-4.803040774015204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0A9D-45B1-98B1-4A5B75466860}"/>
                </c:ext>
              </c:extLst>
            </c:dLbl>
            <c:dLbl>
              <c:idx val="2"/>
              <c:layout>
                <c:manualLayout>
                  <c:x val="0"/>
                  <c:y val="-4.803040774015204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0A9D-45B1-98B1-4A5B75466860}"/>
                </c:ext>
              </c:extLst>
            </c:dLbl>
            <c:dLbl>
              <c:idx val="3"/>
              <c:layout>
                <c:manualLayout>
                  <c:x val="0"/>
                  <c:y val="-4.803040774015204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0A9D-45B1-98B1-4A5B75466860}"/>
                </c:ext>
              </c:extLst>
            </c:dLbl>
            <c:dLbl>
              <c:idx val="4"/>
              <c:layout>
                <c:manualLayout>
                  <c:x val="0"/>
                  <c:y val="-4.803040774015204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0A9D-45B1-98B1-4A5B75466860}"/>
                </c:ext>
              </c:extLst>
            </c:dLbl>
            <c:dLbl>
              <c:idx val="5"/>
              <c:layout>
                <c:manualLayout>
                  <c:x val="0"/>
                  <c:y val="-4.803040774015204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0A9D-45B1-98B1-4A5B75466860}"/>
                </c:ext>
              </c:extLst>
            </c:dLbl>
            <c:dLbl>
              <c:idx val="6"/>
              <c:layout>
                <c:manualLayout>
                  <c:x val="0"/>
                  <c:y val="-4.803040774015204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0A9D-45B1-98B1-4A5B75466860}"/>
                </c:ext>
              </c:extLst>
            </c:dLbl>
            <c:dLbl>
              <c:idx val="7"/>
              <c:layout>
                <c:manualLayout>
                  <c:x val="0"/>
                  <c:y val="-4.803040774015204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0A9D-45B1-98B1-4A5B75466860}"/>
                </c:ext>
              </c:extLst>
            </c:dLbl>
            <c:dLbl>
              <c:idx val="8"/>
              <c:layout>
                <c:manualLayout>
                  <c:x val="0"/>
                  <c:y val="-4.803040774015204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0A9D-45B1-98B1-4A5B75466860}"/>
                </c:ext>
              </c:extLst>
            </c:dLbl>
            <c:dLbl>
              <c:idx val="9"/>
              <c:layout>
                <c:manualLayout>
                  <c:x val="0"/>
                  <c:y val="-4.803040774015204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0A9D-45B1-98B1-4A5B75466860}"/>
                </c:ext>
              </c:extLst>
            </c:dLbl>
            <c:dLbl>
              <c:idx val="10"/>
              <c:layout>
                <c:manualLayout>
                  <c:x val="0"/>
                  <c:y val="-4.803040774015204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0A9D-45B1-98B1-4A5B7546686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K$2</c:f>
              <c:numCache>
                <c:formatCode>General</c:formatCode>
                <c:ptCount val="11"/>
                <c:pt idx="0">
                  <c:v>7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5</c:v>
                </c:pt>
                <c:pt idx="6">
                  <c:v>4</c:v>
                </c:pt>
                <c:pt idx="7">
                  <c:v>4</c:v>
                </c:pt>
                <c:pt idx="8">
                  <c:v>4</c:v>
                </c:pt>
                <c:pt idx="9">
                  <c:v>4</c:v>
                </c:pt>
                <c:pt idx="10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0A9D-45B1-98B1-4A5B754668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34579760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pPr>
            <a:endParaRPr lang="en-US"/>
          </a:p>
        </c:txPr>
        <c:crossAx val="345797607"/>
        <c:crosses val="max"/>
        <c:crossBetween val="between"/>
        <c:majorUnit val="5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318655851680186E-3"/>
          <c:y val="2.0900321543408359E-2"/>
          <c:w val="0.98493626882966401"/>
          <c:h val="0.95819935691318325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DAC-475A-80B4-88C47D1E5E1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DAC-475A-80B4-88C47D1E5E1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3DAC-475A-80B4-88C47D1E5E10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3DAC-475A-80B4-88C47D1E5E10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30000</c:v>
                </c:pt>
                <c:pt idx="1">
                  <c:v>30000</c:v>
                </c:pt>
                <c:pt idx="2">
                  <c:v>65700</c:v>
                </c:pt>
                <c:pt idx="3">
                  <c:v>98638.853542471043</c:v>
                </c:pt>
                <c:pt idx="4">
                  <c:v>98638.853542471043</c:v>
                </c:pt>
                <c:pt idx="5">
                  <c:v>123298.566928088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DAC-475A-80B4-88C47D1E5E10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3DAC-475A-80B4-88C47D1E5E1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3DAC-475A-80B4-88C47D1E5E10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1">
                  <c:v>21000</c:v>
                </c:pt>
                <c:pt idx="2">
                  <c:v>32938.853542471043</c:v>
                </c:pt>
                <c:pt idx="4">
                  <c:v>24659.7133856177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DAC-475A-80B4-88C47D1E5E10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1">
                  <c:v>14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DAC-475A-80B4-88C47D1E5E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68440432"/>
        <c:axId val="1"/>
      </c:barChart>
      <c:catAx>
        <c:axId val="9684404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3298.5669280888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684404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902140672782873E-2"/>
          <c:y val="1.8226428321065545E-2"/>
          <c:w val="0.96819571865443421"/>
          <c:h val="0.9635471433578689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13910.7019316511</c:v>
                </c:pt>
                <c:pt idx="1">
                  <c:v>20821.320693811336</c:v>
                </c:pt>
                <c:pt idx="2">
                  <c:v>27731.939455971573</c:v>
                </c:pt>
                <c:pt idx="3">
                  <c:v>34642.55821813181</c:v>
                </c:pt>
                <c:pt idx="4">
                  <c:v>41553.176980292046</c:v>
                </c:pt>
                <c:pt idx="5">
                  <c:v>48463.7957424522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90-46E0-87DA-CBFA25A13F92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9737.4913521557683</c:v>
                </c:pt>
                <c:pt idx="1">
                  <c:v>14574.924485667936</c:v>
                </c:pt>
                <c:pt idx="2">
                  <c:v>19412.357619180097</c:v>
                </c:pt>
                <c:pt idx="3">
                  <c:v>24249.790752692265</c:v>
                </c:pt>
                <c:pt idx="4">
                  <c:v>29087.223886204432</c:v>
                </c:pt>
                <c:pt idx="5">
                  <c:v>33924.6570197165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490-46E0-87DA-CBFA25A13F92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0">
                  <c:v>6816.2439465090356</c:v>
                </c:pt>
                <c:pt idx="1">
                  <c:v>10202.447139967553</c:v>
                </c:pt>
                <c:pt idx="2">
                  <c:v>13588.650333426071</c:v>
                </c:pt>
                <c:pt idx="3">
                  <c:v>16974.853526884581</c:v>
                </c:pt>
                <c:pt idx="4">
                  <c:v>20361.056720343098</c:v>
                </c:pt>
                <c:pt idx="5">
                  <c:v>23747.2599138016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90-46E0-87DA-CBFA25A13F92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4:$F$4</c:f>
              <c:numCache>
                <c:formatCode>General</c:formatCode>
                <c:ptCount val="6"/>
                <c:pt idx="0">
                  <c:v>12835.811291819598</c:v>
                </c:pt>
                <c:pt idx="1">
                  <c:v>19212.441225854018</c:v>
                </c:pt>
                <c:pt idx="2">
                  <c:v>25589.07115988843</c:v>
                </c:pt>
                <c:pt idx="3">
                  <c:v>31965.701093922849</c:v>
                </c:pt>
                <c:pt idx="4">
                  <c:v>38342.331027957262</c:v>
                </c:pt>
                <c:pt idx="5">
                  <c:v>44718.9609619916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490-46E0-87DA-CBFA25A13F92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5:$F$5</c:f>
              <c:numCache>
                <c:formatCode>General</c:formatCode>
                <c:ptCount val="6"/>
                <c:pt idx="0">
                  <c:v>10825.062130533872</c:v>
                </c:pt>
                <c:pt idx="1">
                  <c:v>5377.7212557913372</c:v>
                </c:pt>
                <c:pt idx="2">
                  <c:v>5377.7212557913299</c:v>
                </c:pt>
                <c:pt idx="3">
                  <c:v>5377.7212557913299</c:v>
                </c:pt>
                <c:pt idx="4">
                  <c:v>5377.7212557913299</c:v>
                </c:pt>
                <c:pt idx="5">
                  <c:v>5377.72125579131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90-46E0-87DA-CBFA25A13F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41299744"/>
        <c:axId val="1"/>
      </c:barChart>
      <c:catAx>
        <c:axId val="9412997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en-US"/>
          </a:p>
        </c:txPr>
        <c:crossAx val="941299744"/>
        <c:crosses val="min"/>
        <c:crossBetween val="between"/>
        <c:majorUnit val="2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292983039574328E-2"/>
          <c:y val="3.270440251572327E-2"/>
          <c:w val="0.96541403392085134"/>
          <c:h val="0.93459119496855347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93A6-4F1A-93A6-FE435C8F1F96}"/>
              </c:ext>
            </c:extLst>
          </c:dPt>
          <c:dPt>
            <c:idx val="1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93A6-4F1A-93A6-FE435C8F1F96}"/>
              </c:ext>
            </c:extLst>
          </c:dPt>
          <c:dPt>
            <c:idx val="2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93A6-4F1A-93A6-FE435C8F1F96}"/>
              </c:ext>
            </c:extLst>
          </c:dPt>
          <c:dPt>
            <c:idx val="3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93A6-4F1A-93A6-FE435C8F1F96}"/>
              </c:ext>
            </c:extLst>
          </c:dPt>
          <c:dPt>
            <c:idx val="4"/>
            <c:marker>
              <c:symbol val="triang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93A6-4F1A-93A6-FE435C8F1F96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13910.7019316511</c:v>
                </c:pt>
                <c:pt idx="1">
                  <c:v>48463.795742452276</c:v>
                </c:pt>
                <c:pt idx="2">
                  <c:v>150193.53298081222</c:v>
                </c:pt>
                <c:pt idx="3">
                  <c:v>150193.53298081222</c:v>
                </c:pt>
                <c:pt idx="4">
                  <c:v>150193.532980812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3A6-4F1A-93A6-FE435C8F1F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37268936"/>
        <c:axId val="1"/>
      </c:lineChart>
      <c:catAx>
        <c:axId val="10372689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193.5329808122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37268936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902140672782873E-2"/>
          <c:y val="1.8226428321065545E-2"/>
          <c:w val="0.96819571865443421"/>
          <c:h val="0.9635471433578689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45000</c:v>
                </c:pt>
                <c:pt idx="1">
                  <c:v>67355.294925099428</c:v>
                </c:pt>
                <c:pt idx="2">
                  <c:v>89710.589850198856</c:v>
                </c:pt>
                <c:pt idx="3">
                  <c:v>112065.88477529828</c:v>
                </c:pt>
                <c:pt idx="4">
                  <c:v>134421.17970039771</c:v>
                </c:pt>
                <c:pt idx="5">
                  <c:v>156776.474625497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00B-4960-A9F0-C62CF06F3ADE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31500</c:v>
                </c:pt>
                <c:pt idx="1">
                  <c:v>47148.706447569595</c:v>
                </c:pt>
                <c:pt idx="2">
                  <c:v>62797.41289513919</c:v>
                </c:pt>
                <c:pt idx="3">
                  <c:v>78446.1193427088</c:v>
                </c:pt>
                <c:pt idx="4">
                  <c:v>94094.825790278381</c:v>
                </c:pt>
                <c:pt idx="5">
                  <c:v>109743.532237847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00B-4960-A9F0-C62CF06F3ADE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0">
                  <c:v>22050</c:v>
                </c:pt>
                <c:pt idx="1">
                  <c:v>33004.094513298725</c:v>
                </c:pt>
                <c:pt idx="2">
                  <c:v>43958.189026597451</c:v>
                </c:pt>
                <c:pt idx="3">
                  <c:v>54912.283539896162</c:v>
                </c:pt>
                <c:pt idx="4">
                  <c:v>65866.378053194901</c:v>
                </c:pt>
                <c:pt idx="5">
                  <c:v>76820.4725664936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00B-4960-A9F0-C62CF06F3ADE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4:$F$4</c:f>
              <c:numCache>
                <c:formatCode>General</c:formatCode>
                <c:ptCount val="6"/>
                <c:pt idx="0">
                  <c:v>56505.935024131264</c:v>
                </c:pt>
                <c:pt idx="1">
                  <c:v>84577.198190419265</c:v>
                </c:pt>
                <c:pt idx="2">
                  <c:v>112648.46135670727</c:v>
                </c:pt>
                <c:pt idx="3">
                  <c:v>140719.72452299521</c:v>
                </c:pt>
                <c:pt idx="4">
                  <c:v>168790.98768928321</c:v>
                </c:pt>
                <c:pt idx="5">
                  <c:v>196862.250855571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00B-4960-A9F0-C62CF06F3ADE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5:$F$5</c:f>
              <c:numCache>
                <c:formatCode>General</c:formatCode>
                <c:ptCount val="6"/>
                <c:pt idx="0">
                  <c:v>38763.983756032831</c:v>
                </c:pt>
                <c:pt idx="1">
                  <c:v>19257.339763063937</c:v>
                </c:pt>
                <c:pt idx="2">
                  <c:v>19257.339763063937</c:v>
                </c:pt>
                <c:pt idx="3">
                  <c:v>19257.339763063937</c:v>
                </c:pt>
                <c:pt idx="4">
                  <c:v>19257.339763063937</c:v>
                </c:pt>
                <c:pt idx="5">
                  <c:v>19257.3397630639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00B-4960-A9F0-C62CF06F3A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64010695"/>
        <c:axId val="1"/>
      </c:barChart>
      <c:catAx>
        <c:axId val="2640106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en-US"/>
          </a:p>
        </c:txPr>
        <c:crossAx val="264010695"/>
        <c:crosses val="min"/>
        <c:crossBetween val="between"/>
        <c:majorUnit val="50000"/>
      </c:valAx>
    </c:plotArea>
    <c:plotVisOnly val="0"/>
    <c:dispBlanksAs val="gap"/>
    <c:showDLblsOverMax val="1"/>
  </c:chart>
  <c:externalData r:id="rId1">
    <c:autoUpdate val="0"/>
  </c:externalData>
</c:chartSpace>
</file>

<file path=ppt/comments/modernComment_197_9E7F3FC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E0D5B4B-E108-431C-8444-017812AD511A}" authorId="{A2A44BF9-97E3-F899-E864-CF46382AACC8}" status="resolved" created="2024-02-27T11:29:59.206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659139525" sldId="407"/>
      <ac:spMk id="3" creationId="{9232ED7B-DBC4-58A4-DFEA-AC6DF5A11201}"/>
      <ac:txMk cp="527" len="18">
        <ac:context len="825" hash="1520432437"/>
      </ac:txMk>
    </ac:txMkLst>
    <p188:pos x="3713608" y="3295952"/>
    <p188:replyLst>
      <p188:reply id="{8B85A5D0-2DBA-4547-80DF-BEC9AEEA7112}" authorId="{EF83B2C9-BA55-7095-63E9-31E942885693}" created="2024-02-28T13:07:22.669">
        <p188:txBody>
          <a:bodyPr/>
          <a:lstStyle/>
          <a:p>
            <a:r>
              <a:rPr lang="en-US"/>
              <a:t>added in red</a:t>
            </a:r>
          </a:p>
        </p188:txBody>
      </p188:reply>
    </p188:replyLst>
    <p188:txBody>
      <a:bodyPr/>
      <a:lstStyle/>
      <a:p>
        <a:r>
          <a:rPr lang="en-US"/>
          <a:t>Do we see any other objectives of the demand forecast? Let's make sure we reflect key questions that need to be answered by this exercise</a:t>
        </a:r>
      </a:p>
    </p188:txBody>
  </p188:cm>
</p188:cmLst>
</file>

<file path=ppt/comments/modernComment_7FFFEED2_56F7711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9C6B72C-B994-4105-8DA5-E59DE77D1D57}" authorId="{A2A44BF9-97E3-F899-E864-CF46382AACC8}" status="resolved" created="2024-02-27T11:32:26.056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459056922" sldId="2147479250"/>
      <ac:graphicFrameMk id="7" creationId="{7E752B28-CBF3-5142-485F-BFD2FBE0C3F0}"/>
      <ac:tblMk/>
      <ac:tcMk rowId="3186083321" colId="1899287310"/>
      <ac:txMk cp="0" len="102">
        <ac:context len="103" hash="825622092"/>
      </ac:txMk>
    </ac:txMkLst>
    <p188:pos x="9617717" y="269942"/>
    <p188:txBody>
      <a:bodyPr/>
      <a:lstStyle/>
      <a:p>
        <a:r>
          <a:rPr lang="en-US"/>
          <a:t>Do we need a steering group for this exercise?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FEAE5B8-1887-744D-B3C4-E3B6006B544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E8A97F-06D7-884B-8B46-968602B43C5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55DCC0-6116-C243-966D-E1A927F582C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C2D543-721A-CF4A-A41A-C589B71FF5F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87907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B02DF4-D578-9E44-A905-1D4F1D9996EB}" type="datetimeFigureOut">
              <a:rPr lang="en-GB" smtClean="0"/>
              <a:t>08/05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5B49A3-D38C-2F4A-9EF6-13EF087A7D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55908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larify with Simba the proce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02625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>
                <a:solidFill>
                  <a:srgbClr val="40404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mand Forecast Methodology and Assumptions</a:t>
            </a:r>
            <a:endParaRPr lang="en-US" sz="180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en-US" sz="1800" kern="0" cap="all">
                <a:solidFill>
                  <a:srgbClr val="4472C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avi VIS 2024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7C23AA-648F-44A1-A705-C98777E80C3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0116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41.svg"/><Relationship Id="rId7" Type="http://schemas.openxmlformats.org/officeDocument/2006/relationships/image" Target="../media/image13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11.sv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svg"/><Relationship Id="rId7" Type="http://schemas.openxmlformats.org/officeDocument/2006/relationships/image" Target="../media/image13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11.sv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sv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sv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4" Type="http://schemas.openxmlformats.org/officeDocument/2006/relationships/image" Target="../media/image29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2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4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52467373-D57C-F842-8976-B87DEFBE83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4F144B-74C7-A148-8E87-6034061E0C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1920394"/>
            <a:ext cx="7964947" cy="234609"/>
          </a:xfrm>
        </p:spPr>
        <p:txBody>
          <a:bodyPr>
            <a:normAutofit/>
          </a:bodyPr>
          <a:lstStyle>
            <a:lvl1pPr>
              <a:defRPr sz="1600" spc="3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2605179"/>
            <a:ext cx="11154344" cy="192903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878A746-9E85-F24C-AD58-8F45F83396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6302341"/>
            <a:ext cx="5832475" cy="187359"/>
          </a:xfrm>
        </p:spPr>
        <p:txBody>
          <a:bodyPr anchor="b">
            <a:spAutoFit/>
          </a:bodyPr>
          <a:lstStyle>
            <a:lvl1pPr>
              <a:defRPr sz="1200"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AFD6BA4-8A31-2C45-81C0-67141C06959C}"/>
              </a:ext>
            </a:extLst>
          </p:cNvPr>
          <p:cNvSpPr txBox="1">
            <a:spLocks/>
          </p:cNvSpPr>
          <p:nvPr userDrawn="1"/>
        </p:nvSpPr>
        <p:spPr>
          <a:xfrm>
            <a:off x="10367425" y="6173816"/>
            <a:ext cx="1303626" cy="315884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800" b="1">
                <a:solidFill>
                  <a:schemeClr val="bg2"/>
                </a:solidFill>
              </a:rPr>
              <a:t>gavi.org</a:t>
            </a:r>
          </a:p>
        </p:txBody>
      </p:sp>
    </p:spTree>
    <p:extLst>
      <p:ext uri="{BB962C8B-B14F-4D97-AF65-F5344CB8AC3E}">
        <p14:creationId xmlns:p14="http://schemas.microsoft.com/office/powerpoint/2010/main" val="40791699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343EB15E-A314-36FE-8F19-4C79176CF3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2264571 w 6096001"/>
              <a:gd name="connsiteY0" fmla="*/ 1883188 h 6858000"/>
              <a:gd name="connsiteX1" fmla="*/ 2167943 w 6096001"/>
              <a:gd name="connsiteY1" fmla="*/ 3625805 h 6858000"/>
              <a:gd name="connsiteX2" fmla="*/ 2578239 w 6096001"/>
              <a:gd name="connsiteY2" fmla="*/ 3754069 h 6858000"/>
              <a:gd name="connsiteX3" fmla="*/ 3056918 w 6096001"/>
              <a:gd name="connsiteY3" fmla="*/ 3625805 h 6858000"/>
              <a:gd name="connsiteX4" fmla="*/ 3638171 w 6096001"/>
              <a:gd name="connsiteY4" fmla="*/ 4124117 h 6858000"/>
              <a:gd name="connsiteX5" fmla="*/ 3047999 w 6096001"/>
              <a:gd name="connsiteY5" fmla="*/ 4644543 h 6858000"/>
              <a:gd name="connsiteX6" fmla="*/ 2222946 w 6096001"/>
              <a:gd name="connsiteY6" fmla="*/ 4342313 h 6858000"/>
              <a:gd name="connsiteX7" fmla="*/ 1933063 w 6096001"/>
              <a:gd name="connsiteY7" fmla="*/ 4822933 h 6858000"/>
              <a:gd name="connsiteX8" fmla="*/ 3058405 w 6096001"/>
              <a:gd name="connsiteY8" fmla="*/ 5175290 h 6858000"/>
              <a:gd name="connsiteX9" fmla="*/ 4229830 w 6096001"/>
              <a:gd name="connsiteY9" fmla="*/ 4110849 h 6858000"/>
              <a:gd name="connsiteX10" fmla="*/ 3178818 w 6096001"/>
              <a:gd name="connsiteY10" fmla="*/ 3114225 h 6858000"/>
              <a:gd name="connsiteX11" fmla="*/ 2689733 w 6096001"/>
              <a:gd name="connsiteY11" fmla="*/ 3214477 h 6858000"/>
              <a:gd name="connsiteX12" fmla="*/ 2744736 w 6096001"/>
              <a:gd name="connsiteY12" fmla="*/ 2409511 h 6858000"/>
              <a:gd name="connsiteX13" fmla="*/ 4026169 w 6096001"/>
              <a:gd name="connsiteY13" fmla="*/ 2409511 h 6858000"/>
              <a:gd name="connsiteX14" fmla="*/ 4026169 w 6096001"/>
              <a:gd name="connsiteY14" fmla="*/ 1883188 h 6858000"/>
              <a:gd name="connsiteX15" fmla="*/ 0 w 6096001"/>
              <a:gd name="connsiteY15" fmla="*/ 0 h 6858000"/>
              <a:gd name="connsiteX16" fmla="*/ 5214397 w 6096001"/>
              <a:gd name="connsiteY16" fmla="*/ 0 h 6858000"/>
              <a:gd name="connsiteX17" fmla="*/ 6096001 w 6096001"/>
              <a:gd name="connsiteY17" fmla="*/ 881604 h 6858000"/>
              <a:gd name="connsiteX18" fmla="*/ 6096001 w 6096001"/>
              <a:gd name="connsiteY18" fmla="*/ 6858000 h 6858000"/>
              <a:gd name="connsiteX19" fmla="*/ 0 w 6096001"/>
              <a:gd name="connsiteY1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096001" h="6858000">
                <a:moveTo>
                  <a:pt x="2264571" y="1883188"/>
                </a:moveTo>
                <a:lnTo>
                  <a:pt x="2167943" y="3625805"/>
                </a:lnTo>
                <a:lnTo>
                  <a:pt x="2578239" y="3754069"/>
                </a:lnTo>
                <a:cubicBezTo>
                  <a:pt x="2706085" y="3671508"/>
                  <a:pt x="2863663" y="3625805"/>
                  <a:pt x="3056918" y="3625805"/>
                </a:cubicBezTo>
                <a:cubicBezTo>
                  <a:pt x="3412211" y="3625805"/>
                  <a:pt x="3638171" y="3814515"/>
                  <a:pt x="3638171" y="4124117"/>
                </a:cubicBezTo>
                <a:cubicBezTo>
                  <a:pt x="3638171" y="4433719"/>
                  <a:pt x="3412211" y="4644543"/>
                  <a:pt x="3047999" y="4644543"/>
                </a:cubicBezTo>
                <a:cubicBezTo>
                  <a:pt x="2720951" y="4644543"/>
                  <a:pt x="2435527" y="4511857"/>
                  <a:pt x="2222946" y="4342313"/>
                </a:cubicBezTo>
                <a:lnTo>
                  <a:pt x="1933063" y="4822933"/>
                </a:lnTo>
                <a:cubicBezTo>
                  <a:pt x="2173889" y="5024912"/>
                  <a:pt x="2542561" y="5175290"/>
                  <a:pt x="3058405" y="5175290"/>
                </a:cubicBezTo>
                <a:cubicBezTo>
                  <a:pt x="3755611" y="5175290"/>
                  <a:pt x="4229830" y="4728578"/>
                  <a:pt x="4229830" y="4110849"/>
                </a:cubicBezTo>
                <a:cubicBezTo>
                  <a:pt x="4229830" y="3493119"/>
                  <a:pt x="3801695" y="3114225"/>
                  <a:pt x="3178818" y="3114225"/>
                </a:cubicBezTo>
                <a:cubicBezTo>
                  <a:pt x="3007861" y="3114225"/>
                  <a:pt x="2810146" y="3155505"/>
                  <a:pt x="2689733" y="3214477"/>
                </a:cubicBezTo>
                <a:lnTo>
                  <a:pt x="2744736" y="2409511"/>
                </a:lnTo>
                <a:lnTo>
                  <a:pt x="4026169" y="2409511"/>
                </a:lnTo>
                <a:lnTo>
                  <a:pt x="4026169" y="1883188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44E4F9BB-131C-DA11-8330-1278532DD3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26A6169B-562B-8F66-2B5C-19489101B6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117389960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DataVis - one column text box and half page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6324600" y="838200"/>
            <a:ext cx="5610225" cy="51147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62000" y="837815"/>
            <a:ext cx="5105400" cy="10611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z="3200">
                <a:solidFill>
                  <a:srgbClr val="F6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 – Arial 32pt red: </a:t>
            </a:r>
            <a:r>
              <a:rPr lang="en-US"/>
              <a:t>Data vis, half-page graphic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2019300"/>
            <a:ext cx="5105400" cy="39243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1800"/>
              </a:spcAft>
              <a:buNone/>
              <a:defRPr sz="16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Body text – Arial 16pt, black, 18pt paragraph spacing after: This is used for a smaller amount of text to accompany a data visualization. It’s intended to hold a few talking points. Aim for clear and concise. </a:t>
            </a:r>
          </a:p>
        </p:txBody>
      </p:sp>
    </p:spTree>
    <p:extLst>
      <p:ext uri="{BB962C8B-B14F-4D97-AF65-F5344CB8AC3E}">
        <p14:creationId xmlns:p14="http://schemas.microsoft.com/office/powerpoint/2010/main" val="1851316412"/>
      </p:ext>
    </p:extLst>
  </p:cSld>
  <p:clrMapOvr>
    <a:masterClrMapping/>
  </p:clrMapOvr>
  <p:transition spd="med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DataVis - one column text box and half page graphic on color b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6324600" y="0"/>
            <a:ext cx="58674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6602819" y="881994"/>
            <a:ext cx="5332006" cy="51455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95491" y="6288426"/>
            <a:ext cx="685309" cy="291104"/>
          </a:xfrm>
          <a:prstGeom prst="rect">
            <a:avLst/>
          </a:prstGeom>
        </p:spPr>
      </p:pic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62000" y="837815"/>
            <a:ext cx="5105400" cy="10611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z="3200">
                <a:solidFill>
                  <a:srgbClr val="F6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 – Arial 32 pt. red: </a:t>
            </a:r>
            <a:r>
              <a:rPr lang="en-US"/>
              <a:t>Data vis, half-page graphic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2019300"/>
            <a:ext cx="5105400" cy="39243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1800"/>
              </a:spcAft>
              <a:buNone/>
              <a:defRPr sz="16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Body text – Arial 16 pt., black, 18 pt. paragraph spacing after: This is used for a smaller amount of text to accompany a data visualization. It’s intended to hold a few talking points. Aim for clear and concise. </a:t>
            </a:r>
          </a:p>
        </p:txBody>
      </p:sp>
    </p:spTree>
    <p:extLst>
      <p:ext uri="{BB962C8B-B14F-4D97-AF65-F5344CB8AC3E}">
        <p14:creationId xmlns:p14="http://schemas.microsoft.com/office/powerpoint/2010/main" val="3459247687"/>
      </p:ext>
    </p:extLst>
  </p:cSld>
  <p:clrMapOvr>
    <a:masterClrMapping/>
  </p:clrMapOvr>
  <p:transition spd="med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DataVis - two column, two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762000" y="2019300"/>
            <a:ext cx="5105400" cy="39243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4"/>
          </p:nvPr>
        </p:nvSpPr>
        <p:spPr>
          <a:xfrm>
            <a:off x="6324600" y="2019300"/>
            <a:ext cx="5156200" cy="39243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762000" y="847224"/>
            <a:ext cx="10816509" cy="1012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z="3200">
                <a:solidFill>
                  <a:srgbClr val="F6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 – Arial 32 pt. red: </a:t>
            </a:r>
            <a:r>
              <a:rPr lang="en-US"/>
              <a:t>Data vis, Long title with two data visual graphics</a:t>
            </a:r>
          </a:p>
        </p:txBody>
      </p:sp>
    </p:spTree>
    <p:extLst>
      <p:ext uri="{BB962C8B-B14F-4D97-AF65-F5344CB8AC3E}">
        <p14:creationId xmlns:p14="http://schemas.microsoft.com/office/powerpoint/2010/main" val="1791543386"/>
      </p:ext>
    </p:extLst>
  </p:cSld>
  <p:clrMapOvr>
    <a:masterClrMapping/>
  </p:clrMapOvr>
  <p:transition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DataVis - two column, two graphic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762001" y="2019300"/>
            <a:ext cx="5105399" cy="276717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4"/>
          </p:nvPr>
        </p:nvSpPr>
        <p:spPr>
          <a:xfrm>
            <a:off x="6324600" y="2019300"/>
            <a:ext cx="5143500" cy="279123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762001" y="847224"/>
            <a:ext cx="10718800" cy="1012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z="3200">
                <a:solidFill>
                  <a:srgbClr val="F6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 – Arial 32 pt. red: </a:t>
            </a:r>
            <a:r>
              <a:rPr lang="en-US"/>
              <a:t>Data Vis, Long title with two data vis graphics and description text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762001" y="5116147"/>
            <a:ext cx="5105399" cy="827453"/>
          </a:xfrm>
          <a:prstGeom prst="rect">
            <a:avLst/>
          </a:prstGeom>
        </p:spPr>
        <p:txBody>
          <a:bodyPr lIns="0" tIns="0" rIns="0" bIns="0" numCol="1" spcCol="457200"/>
          <a:lstStyle>
            <a:lvl1pPr marL="0" indent="0">
              <a:spcBef>
                <a:spcPts val="0"/>
              </a:spcBef>
              <a:spcAft>
                <a:spcPts val="1800"/>
              </a:spcAft>
              <a:buNone/>
              <a:defRPr sz="16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Body text – Arial 16 pt., black, 18 pt. paragraph spacing after: This is used for a small amount of text to accompany a data visualization.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324600" y="5116147"/>
            <a:ext cx="5156201" cy="827453"/>
          </a:xfrm>
          <a:prstGeom prst="rect">
            <a:avLst/>
          </a:prstGeom>
        </p:spPr>
        <p:txBody>
          <a:bodyPr lIns="0" tIns="0" rIns="0" bIns="0" numCol="1" spcCol="457200"/>
          <a:lstStyle>
            <a:lvl1pPr marL="0" indent="0">
              <a:spcBef>
                <a:spcPts val="0"/>
              </a:spcBef>
              <a:spcAft>
                <a:spcPts val="1800"/>
              </a:spcAft>
              <a:buNone/>
              <a:defRPr sz="16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Body text – Arial 16 pt., black, 18 pt. paragraph spacing after: This is used for a small amount of text to accompany a data visualization.</a:t>
            </a:r>
          </a:p>
        </p:txBody>
      </p:sp>
    </p:spTree>
    <p:extLst>
      <p:ext uri="{BB962C8B-B14F-4D97-AF65-F5344CB8AC3E}">
        <p14:creationId xmlns:p14="http://schemas.microsoft.com/office/powerpoint/2010/main" val="4134081048"/>
      </p:ext>
    </p:extLst>
  </p:cSld>
  <p:clrMapOvr>
    <a:masterClrMapping/>
  </p:clrMapOvr>
  <p:transition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DataVis - two column, two graphics on color b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762001" y="2019300"/>
            <a:ext cx="5105400" cy="39243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4"/>
          </p:nvPr>
        </p:nvSpPr>
        <p:spPr>
          <a:xfrm>
            <a:off x="6324600" y="2019300"/>
            <a:ext cx="5156200" cy="39243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95491" y="6288426"/>
            <a:ext cx="685309" cy="291104"/>
          </a:xfrm>
          <a:prstGeom prst="rect">
            <a:avLst/>
          </a:prstGeom>
        </p:spPr>
      </p:pic>
      <p:sp>
        <p:nvSpPr>
          <p:cNvPr id="10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762001" y="847224"/>
            <a:ext cx="10718800" cy="1012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z="3200">
                <a:solidFill>
                  <a:srgbClr val="F6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 – Arial 32 pt. red: </a:t>
            </a:r>
            <a:r>
              <a:rPr lang="en-US"/>
              <a:t>Data Vis, Long title with two data vis graphics with gray background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821491"/>
      </p:ext>
    </p:extLst>
  </p:cSld>
  <p:clrMapOvr>
    <a:masterClrMapping/>
  </p:clrMapOvr>
  <p:transition spd="med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DataVis - full page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sz="quarter" idx="14"/>
          </p:nvPr>
        </p:nvSpPr>
        <p:spPr>
          <a:xfrm>
            <a:off x="762000" y="2019300"/>
            <a:ext cx="10718799" cy="409992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1800"/>
              </a:spcAft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762001" y="847224"/>
            <a:ext cx="10718800" cy="1012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z="3200">
                <a:solidFill>
                  <a:srgbClr val="F6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 – Arial 32 pt. red: </a:t>
            </a:r>
            <a:r>
              <a:rPr lang="en-US"/>
              <a:t>Data Vis, Long title with large full page data visual graphic</a:t>
            </a:r>
          </a:p>
        </p:txBody>
      </p:sp>
    </p:spTree>
    <p:extLst>
      <p:ext uri="{BB962C8B-B14F-4D97-AF65-F5344CB8AC3E}">
        <p14:creationId xmlns:p14="http://schemas.microsoft.com/office/powerpoint/2010/main" val="1123949359"/>
      </p:ext>
    </p:extLst>
  </p:cSld>
  <p:clrMapOvr>
    <a:masterClrMapping/>
  </p:clrMapOvr>
  <p:transition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DataVis -  Small tab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able Placeholder 3"/>
          <p:cNvSpPr>
            <a:spLocks noGrp="1"/>
          </p:cNvSpPr>
          <p:nvPr>
            <p:ph type="tbl" sz="quarter" idx="16" hasCustomPrompt="1"/>
          </p:nvPr>
        </p:nvSpPr>
        <p:spPr>
          <a:xfrm>
            <a:off x="762000" y="2743200"/>
            <a:ext cx="10718800" cy="3200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mall Table – Red is the preferred color for tables; however, you can change the color within the data visualization palette if needed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762000" y="2019300"/>
            <a:ext cx="10718800" cy="647700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1800"/>
              </a:spcAft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latin typeface="+mn-lt"/>
              </a:defRPr>
            </a:lvl2pPr>
            <a:lvl3pPr marL="914400" indent="0">
              <a:buNone/>
              <a:defRPr sz="1800">
                <a:latin typeface="+mn-lt"/>
              </a:defRPr>
            </a:lvl3pPr>
            <a:lvl4pPr marL="1371600" indent="0">
              <a:buNone/>
              <a:defRPr sz="1600">
                <a:latin typeface="+mn-lt"/>
              </a:defRPr>
            </a:lvl4pPr>
            <a:lvl5pPr marL="182880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Body text – Arial 16 pt., black, 18 pt. paragraph spacing after: This text is used for a small description or title to accompany the table below. The page should look clear and concise.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762001" y="847224"/>
            <a:ext cx="10718800" cy="1012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z="3200">
                <a:solidFill>
                  <a:srgbClr val="F6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 – Arial 32 pt. red: </a:t>
            </a:r>
            <a:r>
              <a:rPr lang="en-US"/>
              <a:t>Data Vis, Title with body text and small table graphic</a:t>
            </a:r>
          </a:p>
        </p:txBody>
      </p:sp>
    </p:spTree>
    <p:extLst>
      <p:ext uri="{BB962C8B-B14F-4D97-AF65-F5344CB8AC3E}">
        <p14:creationId xmlns:p14="http://schemas.microsoft.com/office/powerpoint/2010/main" val="1313290172"/>
      </p:ext>
    </p:extLst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DataVis - Larg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able Placeholder 3"/>
          <p:cNvSpPr>
            <a:spLocks noGrp="1"/>
          </p:cNvSpPr>
          <p:nvPr>
            <p:ph type="tbl" sz="quarter" idx="16" hasCustomPrompt="1"/>
          </p:nvPr>
        </p:nvSpPr>
        <p:spPr>
          <a:xfrm>
            <a:off x="762000" y="849086"/>
            <a:ext cx="10718800" cy="50945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Full page Table – Red is the preferred color for tables; however, you can change the color within the data visualization palette if needed</a:t>
            </a:r>
          </a:p>
        </p:txBody>
      </p:sp>
    </p:spTree>
    <p:extLst>
      <p:ext uri="{BB962C8B-B14F-4D97-AF65-F5344CB8AC3E}">
        <p14:creationId xmlns:p14="http://schemas.microsoft.com/office/powerpoint/2010/main" val="2601974575"/>
      </p:ext>
    </p:extLst>
  </p:cSld>
  <p:clrMapOvr>
    <a:masterClrMapping/>
  </p:clrMapOvr>
  <p:transition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Red single thought/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/>
          <p:cNvSpPr/>
          <p:nvPr/>
        </p:nvSpPr>
        <p:spPr>
          <a:xfrm>
            <a:off x="4516781" y="1828800"/>
            <a:ext cx="3221328" cy="3221328"/>
          </a:xfrm>
          <a:custGeom>
            <a:avLst/>
            <a:gdLst>
              <a:gd name="connsiteX0" fmla="*/ 1610664 w 3221328"/>
              <a:gd name="connsiteY0" fmla="*/ 581964 h 3221328"/>
              <a:gd name="connsiteX1" fmla="*/ 581964 w 3221328"/>
              <a:gd name="connsiteY1" fmla="*/ 1610664 h 3221328"/>
              <a:gd name="connsiteX2" fmla="*/ 1610664 w 3221328"/>
              <a:gd name="connsiteY2" fmla="*/ 2639364 h 3221328"/>
              <a:gd name="connsiteX3" fmla="*/ 2639364 w 3221328"/>
              <a:gd name="connsiteY3" fmla="*/ 1610664 h 3221328"/>
              <a:gd name="connsiteX4" fmla="*/ 1610664 w 3221328"/>
              <a:gd name="connsiteY4" fmla="*/ 581964 h 3221328"/>
              <a:gd name="connsiteX5" fmla="*/ 1610664 w 3221328"/>
              <a:gd name="connsiteY5" fmla="*/ 0 h 3221328"/>
              <a:gd name="connsiteX6" fmla="*/ 3221328 w 3221328"/>
              <a:gd name="connsiteY6" fmla="*/ 1610664 h 3221328"/>
              <a:gd name="connsiteX7" fmla="*/ 1610664 w 3221328"/>
              <a:gd name="connsiteY7" fmla="*/ 3221328 h 3221328"/>
              <a:gd name="connsiteX8" fmla="*/ 0 w 3221328"/>
              <a:gd name="connsiteY8" fmla="*/ 1610664 h 3221328"/>
              <a:gd name="connsiteX9" fmla="*/ 1610664 w 3221328"/>
              <a:gd name="connsiteY9" fmla="*/ 0 h 322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21328" h="3221328">
                <a:moveTo>
                  <a:pt x="1610664" y="581964"/>
                </a:moveTo>
                <a:cubicBezTo>
                  <a:pt x="1042529" y="581964"/>
                  <a:pt x="581964" y="1042529"/>
                  <a:pt x="581964" y="1610664"/>
                </a:cubicBezTo>
                <a:cubicBezTo>
                  <a:pt x="581964" y="2178799"/>
                  <a:pt x="1042529" y="2639364"/>
                  <a:pt x="1610664" y="2639364"/>
                </a:cubicBezTo>
                <a:cubicBezTo>
                  <a:pt x="2178799" y="2639364"/>
                  <a:pt x="2639364" y="2178799"/>
                  <a:pt x="2639364" y="1610664"/>
                </a:cubicBezTo>
                <a:cubicBezTo>
                  <a:pt x="2639364" y="1042529"/>
                  <a:pt x="2178799" y="581964"/>
                  <a:pt x="1610664" y="581964"/>
                </a:cubicBezTo>
                <a:close/>
                <a:moveTo>
                  <a:pt x="1610664" y="0"/>
                </a:moveTo>
                <a:cubicBezTo>
                  <a:pt x="2500209" y="0"/>
                  <a:pt x="3221328" y="721119"/>
                  <a:pt x="3221328" y="1610664"/>
                </a:cubicBezTo>
                <a:cubicBezTo>
                  <a:pt x="3221328" y="2500209"/>
                  <a:pt x="2500209" y="3221328"/>
                  <a:pt x="1610664" y="3221328"/>
                </a:cubicBezTo>
                <a:cubicBezTo>
                  <a:pt x="721119" y="3221328"/>
                  <a:pt x="0" y="2500209"/>
                  <a:pt x="0" y="1610664"/>
                </a:cubicBezTo>
                <a:cubicBezTo>
                  <a:pt x="0" y="721119"/>
                  <a:pt x="721119" y="0"/>
                  <a:pt x="161066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681228" y="2019300"/>
            <a:ext cx="8829545" cy="28194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4800" baseline="0">
                <a:solidFill>
                  <a:schemeClr val="bg1"/>
                </a:solidFill>
              </a:defRPr>
            </a:lvl1pPr>
            <a:lvl2pPr algn="ctr">
              <a:defRPr sz="4800" baseline="0"/>
            </a:lvl2pPr>
            <a:lvl3pPr algn="ctr">
              <a:defRPr sz="4800" baseline="0"/>
            </a:lvl3pPr>
            <a:lvl4pPr algn="ctr">
              <a:defRPr sz="4800" baseline="0"/>
            </a:lvl4pPr>
            <a:lvl5pPr algn="ctr">
              <a:defRPr sz="4800" baseline="0"/>
            </a:lvl5pPr>
          </a:lstStyle>
          <a:p>
            <a:pPr lvl="0"/>
            <a:r>
              <a:rPr lang="en-US"/>
              <a:t>Singular thought, quote, or idea</a:t>
            </a:r>
            <a:br>
              <a:rPr lang="en-US"/>
            </a:br>
            <a:r>
              <a:rPr lang="en-US"/>
              <a:t>- Arial 48 pt. white. Keep short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95491" y="6286500"/>
            <a:ext cx="685309" cy="294956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5134572"/>
      </p:ext>
    </p:extLst>
  </p:cSld>
  <p:clrMapOvr>
    <a:masterClrMapping/>
  </p:clrMapOvr>
  <p:transition spd="med"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Red single thought/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7139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/>
          <p:cNvGrpSpPr/>
          <p:nvPr/>
        </p:nvGrpSpPr>
        <p:grpSpPr>
          <a:xfrm>
            <a:off x="4488498" y="1801445"/>
            <a:ext cx="3240404" cy="3255110"/>
            <a:chOff x="3033544" y="1728371"/>
            <a:chExt cx="3240404" cy="3255110"/>
          </a:xfrm>
        </p:grpSpPr>
        <p:sp>
          <p:nvSpPr>
            <p:cNvPr id="8" name="Oval 7"/>
            <p:cNvSpPr/>
            <p:nvPr/>
          </p:nvSpPr>
          <p:spPr>
            <a:xfrm>
              <a:off x="3033544" y="3671889"/>
              <a:ext cx="1311592" cy="1311592"/>
            </a:xfrm>
            <a:prstGeom prst="ellipse">
              <a:avLst/>
            </a:prstGeom>
            <a:solidFill>
              <a:srgbClr val="F84F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Oval 8"/>
            <p:cNvSpPr/>
            <p:nvPr/>
          </p:nvSpPr>
          <p:spPr>
            <a:xfrm>
              <a:off x="3033544" y="1728372"/>
              <a:ext cx="1311592" cy="1311592"/>
            </a:xfrm>
            <a:prstGeom prst="ellipse">
              <a:avLst/>
            </a:prstGeom>
            <a:solidFill>
              <a:srgbClr val="F84F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/>
            <p:cNvSpPr/>
            <p:nvPr/>
          </p:nvSpPr>
          <p:spPr>
            <a:xfrm>
              <a:off x="4962356" y="3671888"/>
              <a:ext cx="1311592" cy="1311592"/>
            </a:xfrm>
            <a:prstGeom prst="ellipse">
              <a:avLst/>
            </a:prstGeom>
            <a:solidFill>
              <a:srgbClr val="F84F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/>
            <p:cNvSpPr/>
            <p:nvPr/>
          </p:nvSpPr>
          <p:spPr>
            <a:xfrm>
              <a:off x="4962356" y="1728371"/>
              <a:ext cx="1311592" cy="1311592"/>
            </a:xfrm>
            <a:prstGeom prst="ellipse">
              <a:avLst/>
            </a:prstGeom>
            <a:solidFill>
              <a:srgbClr val="F84F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95491" y="6286500"/>
            <a:ext cx="685309" cy="294956"/>
          </a:xfrm>
          <a:prstGeom prst="rect">
            <a:avLst/>
          </a:prstGeom>
        </p:spPr>
      </p:pic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681228" y="2019300"/>
            <a:ext cx="8829545" cy="28194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4800" baseline="0">
                <a:solidFill>
                  <a:schemeClr val="bg1"/>
                </a:solidFill>
              </a:defRPr>
            </a:lvl1pPr>
            <a:lvl2pPr algn="ctr">
              <a:defRPr sz="4800" baseline="0"/>
            </a:lvl2pPr>
            <a:lvl3pPr algn="ctr">
              <a:defRPr sz="4800" baseline="0"/>
            </a:lvl3pPr>
            <a:lvl4pPr algn="ctr">
              <a:defRPr sz="4800" baseline="0"/>
            </a:lvl4pPr>
            <a:lvl5pPr algn="ctr">
              <a:defRPr sz="4800" baseline="0"/>
            </a:lvl5pPr>
          </a:lstStyle>
          <a:p>
            <a:pPr lvl="0"/>
            <a:r>
              <a:rPr lang="en-US"/>
              <a:t>Singular thought, quote, or idea</a:t>
            </a:r>
            <a:br>
              <a:rPr lang="en-US"/>
            </a:br>
            <a:r>
              <a:rPr lang="en-US"/>
              <a:t>- Arial 48 pt. white. Keep short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2858979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1BA5AB5-3C92-5003-411D-080017FB62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077268 w 6096001"/>
              <a:gd name="connsiteY0" fmla="*/ 3517274 h 6858000"/>
              <a:gd name="connsiteX1" fmla="*/ 3608256 w 6096001"/>
              <a:gd name="connsiteY1" fmla="*/ 4024085 h 6858000"/>
              <a:gd name="connsiteX2" fmla="*/ 3609649 w 6096001"/>
              <a:gd name="connsiteY2" fmla="*/ 4025458 h 6858000"/>
              <a:gd name="connsiteX3" fmla="*/ 3064725 w 6096001"/>
              <a:gd name="connsiteY3" fmla="*/ 4548751 h 6858000"/>
              <a:gd name="connsiteX4" fmla="*/ 2503076 w 6096001"/>
              <a:gd name="connsiteY4" fmla="*/ 3973266 h 6858000"/>
              <a:gd name="connsiteX5" fmla="*/ 3077268 w 6096001"/>
              <a:gd name="connsiteY5" fmla="*/ 3517274 h 6858000"/>
              <a:gd name="connsiteX6" fmla="*/ 3834030 w 6096001"/>
              <a:gd name="connsiteY6" fmla="*/ 1925421 h 6858000"/>
              <a:gd name="connsiteX7" fmla="*/ 1945608 w 6096001"/>
              <a:gd name="connsiteY7" fmla="*/ 3731535 h 6858000"/>
              <a:gd name="connsiteX8" fmla="*/ 3085630 w 6096001"/>
              <a:gd name="connsiteY8" fmla="*/ 5025345 h 6858000"/>
              <a:gd name="connsiteX9" fmla="*/ 4148999 w 6096001"/>
              <a:gd name="connsiteY9" fmla="*/ 4015844 h 6858000"/>
              <a:gd name="connsiteX10" fmla="*/ 4150393 w 6096001"/>
              <a:gd name="connsiteY10" fmla="*/ 4015844 h 6858000"/>
              <a:gd name="connsiteX11" fmla="*/ 3195730 w 6096001"/>
              <a:gd name="connsiteY11" fmla="*/ 3083257 h 6858000"/>
              <a:gd name="connsiteX12" fmla="*/ 2525374 w 6096001"/>
              <a:gd name="connsiteY12" fmla="*/ 3338723 h 6858000"/>
              <a:gd name="connsiteX13" fmla="*/ 3946917 w 6096001"/>
              <a:gd name="connsiteY13" fmla="*/ 2402015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077268" y="3517274"/>
                </a:moveTo>
                <a:cubicBezTo>
                  <a:pt x="3396418" y="3517274"/>
                  <a:pt x="3608256" y="3704066"/>
                  <a:pt x="3608256" y="4024085"/>
                </a:cubicBezTo>
                <a:lnTo>
                  <a:pt x="3609649" y="4025458"/>
                </a:lnTo>
                <a:cubicBezTo>
                  <a:pt x="3609649" y="4352344"/>
                  <a:pt x="3379694" y="4548751"/>
                  <a:pt x="3064725" y="4548751"/>
                </a:cubicBezTo>
                <a:cubicBezTo>
                  <a:pt x="2727457" y="4548751"/>
                  <a:pt x="2503076" y="4293285"/>
                  <a:pt x="2503076" y="3973266"/>
                </a:cubicBezTo>
                <a:cubicBezTo>
                  <a:pt x="2503076" y="3691705"/>
                  <a:pt x="2779022" y="3517274"/>
                  <a:pt x="3077268" y="3517274"/>
                </a:cubicBezTo>
                <a:close/>
                <a:moveTo>
                  <a:pt x="3834030" y="1925421"/>
                </a:moveTo>
                <a:cubicBezTo>
                  <a:pt x="2503076" y="1967999"/>
                  <a:pt x="1945608" y="2776973"/>
                  <a:pt x="1945608" y="3731535"/>
                </a:cubicBezTo>
                <a:cubicBezTo>
                  <a:pt x="1945608" y="4574847"/>
                  <a:pt x="2416668" y="5025345"/>
                  <a:pt x="3085630" y="5025345"/>
                </a:cubicBezTo>
                <a:cubicBezTo>
                  <a:pt x="3700238" y="5025345"/>
                  <a:pt x="4148999" y="4616051"/>
                  <a:pt x="4148999" y="4015844"/>
                </a:cubicBezTo>
                <a:lnTo>
                  <a:pt x="4150393" y="4015844"/>
                </a:lnTo>
                <a:cubicBezTo>
                  <a:pt x="4150393" y="3432119"/>
                  <a:pt x="3730899" y="3083257"/>
                  <a:pt x="3195730" y="3083257"/>
                </a:cubicBezTo>
                <a:cubicBezTo>
                  <a:pt x="2897484" y="3083257"/>
                  <a:pt x="2654986" y="3210990"/>
                  <a:pt x="2525374" y="3338723"/>
                </a:cubicBezTo>
                <a:cubicBezTo>
                  <a:pt x="2710732" y="2700059"/>
                  <a:pt x="3160888" y="2436352"/>
                  <a:pt x="3946917" y="2402015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7BB44742-AE3F-8E84-7834-7B05B9090F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7B5AA4FE-F153-D70D-DFCB-AA26BFD8A1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253400346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Red single thought/quo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riangle 11"/>
          <p:cNvSpPr/>
          <p:nvPr/>
        </p:nvSpPr>
        <p:spPr>
          <a:xfrm rot="5400000">
            <a:off x="4544758" y="2072835"/>
            <a:ext cx="3155716" cy="2720445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95491" y="6286500"/>
            <a:ext cx="685309" cy="294956"/>
          </a:xfrm>
          <a:prstGeom prst="rect">
            <a:avLst/>
          </a:prstGeom>
        </p:spPr>
      </p:pic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681228" y="2019300"/>
            <a:ext cx="8829545" cy="28194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4800" baseline="0">
                <a:solidFill>
                  <a:schemeClr val="bg1"/>
                </a:solidFill>
              </a:defRPr>
            </a:lvl1pPr>
            <a:lvl2pPr algn="ctr">
              <a:defRPr sz="4800" baseline="0"/>
            </a:lvl2pPr>
            <a:lvl3pPr algn="ctr">
              <a:defRPr sz="4800" baseline="0"/>
            </a:lvl3pPr>
            <a:lvl4pPr algn="ctr">
              <a:defRPr sz="4800" baseline="0"/>
            </a:lvl4pPr>
            <a:lvl5pPr algn="ctr">
              <a:defRPr sz="4800" baseline="0"/>
            </a:lvl5pPr>
          </a:lstStyle>
          <a:p>
            <a:pPr lvl="0"/>
            <a:r>
              <a:rPr lang="en-US"/>
              <a:t>Singular thought, quote, or idea</a:t>
            </a:r>
            <a:br>
              <a:rPr lang="en-US"/>
            </a:br>
            <a:r>
              <a:rPr lang="en-US"/>
              <a:t>- Arial 48 pt. white. Keep short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7423926"/>
      </p:ext>
    </p:extLst>
  </p:cSld>
  <p:clrMapOvr>
    <a:masterClrMapping/>
  </p:clrMapOvr>
  <p:transition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Purple single thought/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/>
          <p:cNvSpPr/>
          <p:nvPr/>
        </p:nvSpPr>
        <p:spPr>
          <a:xfrm>
            <a:off x="4516781" y="1828800"/>
            <a:ext cx="3221328" cy="3221328"/>
          </a:xfrm>
          <a:custGeom>
            <a:avLst/>
            <a:gdLst>
              <a:gd name="connsiteX0" fmla="*/ 1610664 w 3221328"/>
              <a:gd name="connsiteY0" fmla="*/ 581964 h 3221328"/>
              <a:gd name="connsiteX1" fmla="*/ 581964 w 3221328"/>
              <a:gd name="connsiteY1" fmla="*/ 1610664 h 3221328"/>
              <a:gd name="connsiteX2" fmla="*/ 1610664 w 3221328"/>
              <a:gd name="connsiteY2" fmla="*/ 2639364 h 3221328"/>
              <a:gd name="connsiteX3" fmla="*/ 2639364 w 3221328"/>
              <a:gd name="connsiteY3" fmla="*/ 1610664 h 3221328"/>
              <a:gd name="connsiteX4" fmla="*/ 1610664 w 3221328"/>
              <a:gd name="connsiteY4" fmla="*/ 581964 h 3221328"/>
              <a:gd name="connsiteX5" fmla="*/ 1610664 w 3221328"/>
              <a:gd name="connsiteY5" fmla="*/ 0 h 3221328"/>
              <a:gd name="connsiteX6" fmla="*/ 3221328 w 3221328"/>
              <a:gd name="connsiteY6" fmla="*/ 1610664 h 3221328"/>
              <a:gd name="connsiteX7" fmla="*/ 1610664 w 3221328"/>
              <a:gd name="connsiteY7" fmla="*/ 3221328 h 3221328"/>
              <a:gd name="connsiteX8" fmla="*/ 0 w 3221328"/>
              <a:gd name="connsiteY8" fmla="*/ 1610664 h 3221328"/>
              <a:gd name="connsiteX9" fmla="*/ 1610664 w 3221328"/>
              <a:gd name="connsiteY9" fmla="*/ 0 h 322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21328" h="3221328">
                <a:moveTo>
                  <a:pt x="1610664" y="581964"/>
                </a:moveTo>
                <a:cubicBezTo>
                  <a:pt x="1042529" y="581964"/>
                  <a:pt x="581964" y="1042529"/>
                  <a:pt x="581964" y="1610664"/>
                </a:cubicBezTo>
                <a:cubicBezTo>
                  <a:pt x="581964" y="2178799"/>
                  <a:pt x="1042529" y="2639364"/>
                  <a:pt x="1610664" y="2639364"/>
                </a:cubicBezTo>
                <a:cubicBezTo>
                  <a:pt x="2178799" y="2639364"/>
                  <a:pt x="2639364" y="2178799"/>
                  <a:pt x="2639364" y="1610664"/>
                </a:cubicBezTo>
                <a:cubicBezTo>
                  <a:pt x="2639364" y="1042529"/>
                  <a:pt x="2178799" y="581964"/>
                  <a:pt x="1610664" y="581964"/>
                </a:cubicBezTo>
                <a:close/>
                <a:moveTo>
                  <a:pt x="1610664" y="0"/>
                </a:moveTo>
                <a:cubicBezTo>
                  <a:pt x="2500209" y="0"/>
                  <a:pt x="3221328" y="721119"/>
                  <a:pt x="3221328" y="1610664"/>
                </a:cubicBezTo>
                <a:cubicBezTo>
                  <a:pt x="3221328" y="2500209"/>
                  <a:pt x="2500209" y="3221328"/>
                  <a:pt x="1610664" y="3221328"/>
                </a:cubicBezTo>
                <a:cubicBezTo>
                  <a:pt x="721119" y="3221328"/>
                  <a:pt x="0" y="2500209"/>
                  <a:pt x="0" y="1610664"/>
                </a:cubicBezTo>
                <a:cubicBezTo>
                  <a:pt x="0" y="721119"/>
                  <a:pt x="721119" y="0"/>
                  <a:pt x="1610664" y="0"/>
                </a:cubicBezTo>
                <a:close/>
              </a:path>
            </a:pathLst>
          </a:custGeom>
          <a:solidFill>
            <a:srgbClr val="3737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95491" y="6286500"/>
            <a:ext cx="685309" cy="294956"/>
          </a:xfrm>
          <a:prstGeom prst="rect">
            <a:avLst/>
          </a:prstGeom>
        </p:spPr>
      </p:pic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681228" y="2019300"/>
            <a:ext cx="8829545" cy="28194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4800" baseline="0">
                <a:solidFill>
                  <a:schemeClr val="bg1"/>
                </a:solidFill>
              </a:defRPr>
            </a:lvl1pPr>
            <a:lvl2pPr algn="ctr">
              <a:defRPr sz="4800" baseline="0"/>
            </a:lvl2pPr>
            <a:lvl3pPr algn="ctr">
              <a:defRPr sz="4800" baseline="0"/>
            </a:lvl3pPr>
            <a:lvl4pPr algn="ctr">
              <a:defRPr sz="4800" baseline="0"/>
            </a:lvl4pPr>
            <a:lvl5pPr algn="ctr">
              <a:defRPr sz="4800" baseline="0"/>
            </a:lvl5pPr>
          </a:lstStyle>
          <a:p>
            <a:pPr lvl="0"/>
            <a:r>
              <a:rPr lang="en-US"/>
              <a:t>Singular thought, quote, or idea</a:t>
            </a:r>
            <a:br>
              <a:rPr lang="en-US"/>
            </a:br>
            <a:r>
              <a:rPr lang="en-US"/>
              <a:t>- Arial 48 pt. white. Keep short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969875"/>
      </p:ext>
    </p:extLst>
  </p:cSld>
  <p:clrMapOvr>
    <a:masterClrMapping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Purple single thought/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7139" y="0"/>
            <a:ext cx="12192000" cy="6858000"/>
          </a:xfrm>
          <a:prstGeom prst="rect">
            <a:avLst/>
          </a:prstGeom>
          <a:solidFill>
            <a:srgbClr val="3737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/>
          <p:cNvGrpSpPr/>
          <p:nvPr/>
        </p:nvGrpSpPr>
        <p:grpSpPr>
          <a:xfrm>
            <a:off x="4488498" y="1801445"/>
            <a:ext cx="3240404" cy="3255110"/>
            <a:chOff x="3033544" y="1728371"/>
            <a:chExt cx="3240404" cy="3255110"/>
          </a:xfrm>
          <a:solidFill>
            <a:schemeClr val="accent4"/>
          </a:solidFill>
        </p:grpSpPr>
        <p:sp>
          <p:nvSpPr>
            <p:cNvPr id="8" name="Oval 7"/>
            <p:cNvSpPr/>
            <p:nvPr/>
          </p:nvSpPr>
          <p:spPr>
            <a:xfrm>
              <a:off x="3033544" y="3671889"/>
              <a:ext cx="1311592" cy="13115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Oval 8"/>
            <p:cNvSpPr/>
            <p:nvPr/>
          </p:nvSpPr>
          <p:spPr>
            <a:xfrm>
              <a:off x="3033544" y="1728372"/>
              <a:ext cx="1311592" cy="13115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/>
            <p:cNvSpPr/>
            <p:nvPr/>
          </p:nvSpPr>
          <p:spPr>
            <a:xfrm>
              <a:off x="4962356" y="3671888"/>
              <a:ext cx="1311592" cy="13115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/>
            <p:cNvSpPr/>
            <p:nvPr/>
          </p:nvSpPr>
          <p:spPr>
            <a:xfrm>
              <a:off x="4962356" y="1728371"/>
              <a:ext cx="1311592" cy="13115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95491" y="6286500"/>
            <a:ext cx="685309" cy="294956"/>
          </a:xfrm>
          <a:prstGeom prst="rect">
            <a:avLst/>
          </a:prstGeom>
        </p:spPr>
      </p:pic>
      <p:sp>
        <p:nvSpPr>
          <p:cNvPr id="13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681228" y="2019300"/>
            <a:ext cx="8829545" cy="28194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4800" baseline="0">
                <a:solidFill>
                  <a:schemeClr val="bg1"/>
                </a:solidFill>
              </a:defRPr>
            </a:lvl1pPr>
            <a:lvl2pPr algn="ctr">
              <a:defRPr sz="4800" baseline="0"/>
            </a:lvl2pPr>
            <a:lvl3pPr algn="ctr">
              <a:defRPr sz="4800" baseline="0"/>
            </a:lvl3pPr>
            <a:lvl4pPr algn="ctr">
              <a:defRPr sz="4800" baseline="0"/>
            </a:lvl4pPr>
            <a:lvl5pPr algn="ctr">
              <a:defRPr sz="4800" baseline="0"/>
            </a:lvl5pPr>
          </a:lstStyle>
          <a:p>
            <a:pPr lvl="0"/>
            <a:r>
              <a:rPr lang="en-US"/>
              <a:t>Singular thought, quote, or idea</a:t>
            </a:r>
            <a:br>
              <a:rPr lang="en-US"/>
            </a:br>
            <a:r>
              <a:rPr lang="en-US"/>
              <a:t>- Arial 48 pt. white. Keep short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3095536"/>
      </p:ext>
    </p:extLst>
  </p:cSld>
  <p:clrMapOvr>
    <a:masterClrMapping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Purple single thought/quo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riangle 11"/>
          <p:cNvSpPr/>
          <p:nvPr/>
        </p:nvSpPr>
        <p:spPr>
          <a:xfrm rot="5400000">
            <a:off x="4544758" y="2072835"/>
            <a:ext cx="3155716" cy="2720445"/>
          </a:xfrm>
          <a:prstGeom prst="triangle">
            <a:avLst/>
          </a:prstGeom>
          <a:solidFill>
            <a:srgbClr val="3737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95491" y="6286500"/>
            <a:ext cx="685309" cy="294956"/>
          </a:xfrm>
          <a:prstGeom prst="rect">
            <a:avLst/>
          </a:prstGeom>
        </p:spPr>
      </p:pic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681228" y="2019300"/>
            <a:ext cx="8829545" cy="28194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4800" baseline="0">
                <a:solidFill>
                  <a:schemeClr val="bg1"/>
                </a:solidFill>
              </a:defRPr>
            </a:lvl1pPr>
            <a:lvl2pPr algn="ctr">
              <a:defRPr sz="4800" baseline="0"/>
            </a:lvl2pPr>
            <a:lvl3pPr algn="ctr">
              <a:defRPr sz="4800" baseline="0"/>
            </a:lvl3pPr>
            <a:lvl4pPr algn="ctr">
              <a:defRPr sz="4800" baseline="0"/>
            </a:lvl4pPr>
            <a:lvl5pPr algn="ctr">
              <a:defRPr sz="4800" baseline="0"/>
            </a:lvl5pPr>
          </a:lstStyle>
          <a:p>
            <a:pPr lvl="0"/>
            <a:r>
              <a:rPr lang="en-US"/>
              <a:t>Singular thought, quote, or idea</a:t>
            </a:r>
            <a:br>
              <a:rPr lang="en-US"/>
            </a:br>
            <a:r>
              <a:rPr lang="en-US"/>
              <a:t>- Arial 48 pt. white. Keep short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853599"/>
      </p:ext>
    </p:extLst>
  </p:cSld>
  <p:clrMapOvr>
    <a:masterClrMapping/>
  </p:clrMapOvr>
  <p:transition spd="med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Teal single thought/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/>
          <p:cNvSpPr/>
          <p:nvPr/>
        </p:nvSpPr>
        <p:spPr>
          <a:xfrm>
            <a:off x="4516781" y="1828800"/>
            <a:ext cx="3221328" cy="3221328"/>
          </a:xfrm>
          <a:custGeom>
            <a:avLst/>
            <a:gdLst>
              <a:gd name="connsiteX0" fmla="*/ 1610664 w 3221328"/>
              <a:gd name="connsiteY0" fmla="*/ 581964 h 3221328"/>
              <a:gd name="connsiteX1" fmla="*/ 581964 w 3221328"/>
              <a:gd name="connsiteY1" fmla="*/ 1610664 h 3221328"/>
              <a:gd name="connsiteX2" fmla="*/ 1610664 w 3221328"/>
              <a:gd name="connsiteY2" fmla="*/ 2639364 h 3221328"/>
              <a:gd name="connsiteX3" fmla="*/ 2639364 w 3221328"/>
              <a:gd name="connsiteY3" fmla="*/ 1610664 h 3221328"/>
              <a:gd name="connsiteX4" fmla="*/ 1610664 w 3221328"/>
              <a:gd name="connsiteY4" fmla="*/ 581964 h 3221328"/>
              <a:gd name="connsiteX5" fmla="*/ 1610664 w 3221328"/>
              <a:gd name="connsiteY5" fmla="*/ 0 h 3221328"/>
              <a:gd name="connsiteX6" fmla="*/ 3221328 w 3221328"/>
              <a:gd name="connsiteY6" fmla="*/ 1610664 h 3221328"/>
              <a:gd name="connsiteX7" fmla="*/ 1610664 w 3221328"/>
              <a:gd name="connsiteY7" fmla="*/ 3221328 h 3221328"/>
              <a:gd name="connsiteX8" fmla="*/ 0 w 3221328"/>
              <a:gd name="connsiteY8" fmla="*/ 1610664 h 3221328"/>
              <a:gd name="connsiteX9" fmla="*/ 1610664 w 3221328"/>
              <a:gd name="connsiteY9" fmla="*/ 0 h 322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21328" h="3221328">
                <a:moveTo>
                  <a:pt x="1610664" y="581964"/>
                </a:moveTo>
                <a:cubicBezTo>
                  <a:pt x="1042529" y="581964"/>
                  <a:pt x="581964" y="1042529"/>
                  <a:pt x="581964" y="1610664"/>
                </a:cubicBezTo>
                <a:cubicBezTo>
                  <a:pt x="581964" y="2178799"/>
                  <a:pt x="1042529" y="2639364"/>
                  <a:pt x="1610664" y="2639364"/>
                </a:cubicBezTo>
                <a:cubicBezTo>
                  <a:pt x="2178799" y="2639364"/>
                  <a:pt x="2639364" y="2178799"/>
                  <a:pt x="2639364" y="1610664"/>
                </a:cubicBezTo>
                <a:cubicBezTo>
                  <a:pt x="2639364" y="1042529"/>
                  <a:pt x="2178799" y="581964"/>
                  <a:pt x="1610664" y="581964"/>
                </a:cubicBezTo>
                <a:close/>
                <a:moveTo>
                  <a:pt x="1610664" y="0"/>
                </a:moveTo>
                <a:cubicBezTo>
                  <a:pt x="2500209" y="0"/>
                  <a:pt x="3221328" y="721119"/>
                  <a:pt x="3221328" y="1610664"/>
                </a:cubicBezTo>
                <a:cubicBezTo>
                  <a:pt x="3221328" y="2500209"/>
                  <a:pt x="2500209" y="3221328"/>
                  <a:pt x="1610664" y="3221328"/>
                </a:cubicBezTo>
                <a:cubicBezTo>
                  <a:pt x="721119" y="3221328"/>
                  <a:pt x="0" y="2500209"/>
                  <a:pt x="0" y="1610664"/>
                </a:cubicBezTo>
                <a:cubicBezTo>
                  <a:pt x="0" y="721119"/>
                  <a:pt x="721119" y="0"/>
                  <a:pt x="1610664" y="0"/>
                </a:cubicBezTo>
                <a:close/>
              </a:path>
            </a:pathLst>
          </a:custGeom>
          <a:solidFill>
            <a:srgbClr val="005A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95491" y="6286500"/>
            <a:ext cx="685309" cy="294956"/>
          </a:xfrm>
          <a:prstGeom prst="rect">
            <a:avLst/>
          </a:prstGeom>
        </p:spPr>
      </p:pic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681228" y="2019300"/>
            <a:ext cx="8829545" cy="28194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4800" baseline="0">
                <a:solidFill>
                  <a:schemeClr val="bg1"/>
                </a:solidFill>
              </a:defRPr>
            </a:lvl1pPr>
            <a:lvl2pPr algn="ctr">
              <a:defRPr sz="4800" baseline="0"/>
            </a:lvl2pPr>
            <a:lvl3pPr algn="ctr">
              <a:defRPr sz="4800" baseline="0"/>
            </a:lvl3pPr>
            <a:lvl4pPr algn="ctr">
              <a:defRPr sz="4800" baseline="0"/>
            </a:lvl4pPr>
            <a:lvl5pPr algn="ctr">
              <a:defRPr sz="4800" baseline="0"/>
            </a:lvl5pPr>
          </a:lstStyle>
          <a:p>
            <a:pPr lvl="0"/>
            <a:r>
              <a:rPr lang="en-US"/>
              <a:t>Singular thought, quote, or idea</a:t>
            </a:r>
            <a:br>
              <a:rPr lang="en-US"/>
            </a:br>
            <a:r>
              <a:rPr lang="en-US"/>
              <a:t>- Arial 48 pt. white. Keep short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432857"/>
      </p:ext>
    </p:extLst>
  </p:cSld>
  <p:clrMapOvr>
    <a:masterClrMapping/>
  </p:clrMapOvr>
  <p:transition spd="med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Teal single thought/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7139" y="0"/>
            <a:ext cx="12192000" cy="6858000"/>
          </a:xfrm>
          <a:prstGeom prst="rect">
            <a:avLst/>
          </a:prstGeom>
          <a:solidFill>
            <a:srgbClr val="005A8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/>
          <p:cNvGrpSpPr/>
          <p:nvPr/>
        </p:nvGrpSpPr>
        <p:grpSpPr>
          <a:xfrm>
            <a:off x="4488498" y="1801445"/>
            <a:ext cx="3240404" cy="3255110"/>
            <a:chOff x="3033544" y="1728371"/>
            <a:chExt cx="3240404" cy="3255110"/>
          </a:xfrm>
          <a:solidFill>
            <a:schemeClr val="accent3"/>
          </a:solidFill>
        </p:grpSpPr>
        <p:sp>
          <p:nvSpPr>
            <p:cNvPr id="8" name="Oval 7"/>
            <p:cNvSpPr/>
            <p:nvPr/>
          </p:nvSpPr>
          <p:spPr>
            <a:xfrm>
              <a:off x="3033544" y="3671889"/>
              <a:ext cx="1311592" cy="13115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Oval 8"/>
            <p:cNvSpPr/>
            <p:nvPr/>
          </p:nvSpPr>
          <p:spPr>
            <a:xfrm>
              <a:off x="3033544" y="1728372"/>
              <a:ext cx="1311592" cy="13115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/>
            <p:cNvSpPr/>
            <p:nvPr/>
          </p:nvSpPr>
          <p:spPr>
            <a:xfrm>
              <a:off x="4962356" y="3671888"/>
              <a:ext cx="1311592" cy="13115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/>
            <p:cNvSpPr/>
            <p:nvPr/>
          </p:nvSpPr>
          <p:spPr>
            <a:xfrm>
              <a:off x="4962356" y="1728371"/>
              <a:ext cx="1311592" cy="13115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95491" y="6286500"/>
            <a:ext cx="685309" cy="294956"/>
          </a:xfrm>
          <a:prstGeom prst="rect">
            <a:avLst/>
          </a:prstGeom>
        </p:spPr>
      </p:pic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681228" y="2019300"/>
            <a:ext cx="8829545" cy="28194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4800" baseline="0">
                <a:solidFill>
                  <a:schemeClr val="bg1"/>
                </a:solidFill>
              </a:defRPr>
            </a:lvl1pPr>
            <a:lvl2pPr algn="ctr">
              <a:defRPr sz="4800" baseline="0"/>
            </a:lvl2pPr>
            <a:lvl3pPr algn="ctr">
              <a:defRPr sz="4800" baseline="0"/>
            </a:lvl3pPr>
            <a:lvl4pPr algn="ctr">
              <a:defRPr sz="4800" baseline="0"/>
            </a:lvl4pPr>
            <a:lvl5pPr algn="ctr">
              <a:defRPr sz="4800" baseline="0"/>
            </a:lvl5pPr>
          </a:lstStyle>
          <a:p>
            <a:pPr lvl="0"/>
            <a:r>
              <a:rPr lang="en-US"/>
              <a:t>Singular thought, quote, or idea</a:t>
            </a:r>
            <a:br>
              <a:rPr lang="en-US"/>
            </a:br>
            <a:r>
              <a:rPr lang="en-US"/>
              <a:t>- Arial 48 pt. white. Keep short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937122"/>
      </p:ext>
    </p:extLst>
  </p:cSld>
  <p:clrMapOvr>
    <a:masterClrMapping/>
  </p:clrMapOvr>
  <p:transition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Teal single thought/quo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riangle 11"/>
          <p:cNvSpPr/>
          <p:nvPr/>
        </p:nvSpPr>
        <p:spPr>
          <a:xfrm rot="5400000">
            <a:off x="4544758" y="2072835"/>
            <a:ext cx="3155716" cy="2720445"/>
          </a:xfrm>
          <a:prstGeom prst="triangle">
            <a:avLst/>
          </a:prstGeom>
          <a:solidFill>
            <a:srgbClr val="005A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95491" y="6286500"/>
            <a:ext cx="685309" cy="294956"/>
          </a:xfrm>
          <a:prstGeom prst="rect">
            <a:avLst/>
          </a:prstGeom>
        </p:spPr>
      </p:pic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681228" y="2019300"/>
            <a:ext cx="8829545" cy="28194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4800" baseline="0">
                <a:solidFill>
                  <a:schemeClr val="bg1"/>
                </a:solidFill>
              </a:defRPr>
            </a:lvl1pPr>
            <a:lvl2pPr algn="ctr">
              <a:defRPr sz="4800" baseline="0"/>
            </a:lvl2pPr>
            <a:lvl3pPr algn="ctr">
              <a:defRPr sz="4800" baseline="0"/>
            </a:lvl3pPr>
            <a:lvl4pPr algn="ctr">
              <a:defRPr sz="4800" baseline="0"/>
            </a:lvl4pPr>
            <a:lvl5pPr algn="ctr">
              <a:defRPr sz="4800" baseline="0"/>
            </a:lvl5pPr>
          </a:lstStyle>
          <a:p>
            <a:pPr lvl="0"/>
            <a:r>
              <a:rPr lang="en-US"/>
              <a:t>Singular thought, quote, or idea</a:t>
            </a:r>
            <a:br>
              <a:rPr lang="en-US"/>
            </a:br>
            <a:r>
              <a:rPr lang="en-US"/>
              <a:t>- Arial 48 pt. white. Keep short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7528051"/>
      </p:ext>
    </p:extLst>
  </p:cSld>
  <p:clrMapOvr>
    <a:masterClrMapping/>
  </p:clrMapOvr>
  <p:transition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Green single thought/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/>
          <p:cNvSpPr/>
          <p:nvPr/>
        </p:nvSpPr>
        <p:spPr>
          <a:xfrm>
            <a:off x="4516781" y="1828800"/>
            <a:ext cx="3221328" cy="3221328"/>
          </a:xfrm>
          <a:custGeom>
            <a:avLst/>
            <a:gdLst>
              <a:gd name="connsiteX0" fmla="*/ 1610664 w 3221328"/>
              <a:gd name="connsiteY0" fmla="*/ 581964 h 3221328"/>
              <a:gd name="connsiteX1" fmla="*/ 581964 w 3221328"/>
              <a:gd name="connsiteY1" fmla="*/ 1610664 h 3221328"/>
              <a:gd name="connsiteX2" fmla="*/ 1610664 w 3221328"/>
              <a:gd name="connsiteY2" fmla="*/ 2639364 h 3221328"/>
              <a:gd name="connsiteX3" fmla="*/ 2639364 w 3221328"/>
              <a:gd name="connsiteY3" fmla="*/ 1610664 h 3221328"/>
              <a:gd name="connsiteX4" fmla="*/ 1610664 w 3221328"/>
              <a:gd name="connsiteY4" fmla="*/ 581964 h 3221328"/>
              <a:gd name="connsiteX5" fmla="*/ 1610664 w 3221328"/>
              <a:gd name="connsiteY5" fmla="*/ 0 h 3221328"/>
              <a:gd name="connsiteX6" fmla="*/ 3221328 w 3221328"/>
              <a:gd name="connsiteY6" fmla="*/ 1610664 h 3221328"/>
              <a:gd name="connsiteX7" fmla="*/ 1610664 w 3221328"/>
              <a:gd name="connsiteY7" fmla="*/ 3221328 h 3221328"/>
              <a:gd name="connsiteX8" fmla="*/ 0 w 3221328"/>
              <a:gd name="connsiteY8" fmla="*/ 1610664 h 3221328"/>
              <a:gd name="connsiteX9" fmla="*/ 1610664 w 3221328"/>
              <a:gd name="connsiteY9" fmla="*/ 0 h 322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21328" h="3221328">
                <a:moveTo>
                  <a:pt x="1610664" y="581964"/>
                </a:moveTo>
                <a:cubicBezTo>
                  <a:pt x="1042529" y="581964"/>
                  <a:pt x="581964" y="1042529"/>
                  <a:pt x="581964" y="1610664"/>
                </a:cubicBezTo>
                <a:cubicBezTo>
                  <a:pt x="581964" y="2178799"/>
                  <a:pt x="1042529" y="2639364"/>
                  <a:pt x="1610664" y="2639364"/>
                </a:cubicBezTo>
                <a:cubicBezTo>
                  <a:pt x="2178799" y="2639364"/>
                  <a:pt x="2639364" y="2178799"/>
                  <a:pt x="2639364" y="1610664"/>
                </a:cubicBezTo>
                <a:cubicBezTo>
                  <a:pt x="2639364" y="1042529"/>
                  <a:pt x="2178799" y="581964"/>
                  <a:pt x="1610664" y="581964"/>
                </a:cubicBezTo>
                <a:close/>
                <a:moveTo>
                  <a:pt x="1610664" y="0"/>
                </a:moveTo>
                <a:cubicBezTo>
                  <a:pt x="2500209" y="0"/>
                  <a:pt x="3221328" y="721119"/>
                  <a:pt x="3221328" y="1610664"/>
                </a:cubicBezTo>
                <a:cubicBezTo>
                  <a:pt x="3221328" y="2500209"/>
                  <a:pt x="2500209" y="3221328"/>
                  <a:pt x="1610664" y="3221328"/>
                </a:cubicBezTo>
                <a:cubicBezTo>
                  <a:pt x="721119" y="3221328"/>
                  <a:pt x="0" y="2500209"/>
                  <a:pt x="0" y="1610664"/>
                </a:cubicBezTo>
                <a:cubicBezTo>
                  <a:pt x="0" y="721119"/>
                  <a:pt x="721119" y="0"/>
                  <a:pt x="1610664" y="0"/>
                </a:cubicBezTo>
                <a:close/>
              </a:path>
            </a:pathLst>
          </a:custGeom>
          <a:solidFill>
            <a:srgbClr val="056E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95491" y="6286500"/>
            <a:ext cx="685309" cy="294956"/>
          </a:xfrm>
          <a:prstGeom prst="rect">
            <a:avLst/>
          </a:prstGeom>
        </p:spPr>
      </p:pic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681228" y="2019300"/>
            <a:ext cx="8829545" cy="28194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4800" baseline="0">
                <a:solidFill>
                  <a:schemeClr val="bg1"/>
                </a:solidFill>
              </a:defRPr>
            </a:lvl1pPr>
            <a:lvl2pPr algn="ctr">
              <a:defRPr sz="4800" baseline="0"/>
            </a:lvl2pPr>
            <a:lvl3pPr algn="ctr">
              <a:defRPr sz="4800" baseline="0"/>
            </a:lvl3pPr>
            <a:lvl4pPr algn="ctr">
              <a:defRPr sz="4800" baseline="0"/>
            </a:lvl4pPr>
            <a:lvl5pPr algn="ctr">
              <a:defRPr sz="4800" baseline="0"/>
            </a:lvl5pPr>
          </a:lstStyle>
          <a:p>
            <a:pPr lvl="0"/>
            <a:r>
              <a:rPr lang="en-US"/>
              <a:t>Singular thought, quote, or idea</a:t>
            </a:r>
            <a:br>
              <a:rPr lang="en-US"/>
            </a:br>
            <a:r>
              <a:rPr lang="en-US"/>
              <a:t>- Arial 48 pt. white. Keep short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2857726"/>
      </p:ext>
    </p:extLst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Green single thought/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7139" y="0"/>
            <a:ext cx="12192000" cy="6858000"/>
          </a:xfrm>
          <a:prstGeom prst="rect">
            <a:avLst/>
          </a:prstGeom>
          <a:solidFill>
            <a:srgbClr val="056E2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/>
          <p:cNvGrpSpPr/>
          <p:nvPr/>
        </p:nvGrpSpPr>
        <p:grpSpPr>
          <a:xfrm>
            <a:off x="4488498" y="1801445"/>
            <a:ext cx="3240404" cy="3255110"/>
            <a:chOff x="3033544" y="1728371"/>
            <a:chExt cx="3240404" cy="3255110"/>
          </a:xfrm>
          <a:solidFill>
            <a:schemeClr val="accent5"/>
          </a:solidFill>
        </p:grpSpPr>
        <p:sp>
          <p:nvSpPr>
            <p:cNvPr id="8" name="Oval 7"/>
            <p:cNvSpPr/>
            <p:nvPr/>
          </p:nvSpPr>
          <p:spPr>
            <a:xfrm>
              <a:off x="3033544" y="3671889"/>
              <a:ext cx="1311592" cy="13115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Oval 8"/>
            <p:cNvSpPr/>
            <p:nvPr/>
          </p:nvSpPr>
          <p:spPr>
            <a:xfrm>
              <a:off x="3033544" y="1728372"/>
              <a:ext cx="1311592" cy="13115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/>
            <p:cNvSpPr/>
            <p:nvPr/>
          </p:nvSpPr>
          <p:spPr>
            <a:xfrm>
              <a:off x="4962356" y="3671888"/>
              <a:ext cx="1311592" cy="13115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/>
            <p:cNvSpPr/>
            <p:nvPr/>
          </p:nvSpPr>
          <p:spPr>
            <a:xfrm>
              <a:off x="4962356" y="1728371"/>
              <a:ext cx="1311592" cy="13115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95491" y="6286500"/>
            <a:ext cx="685309" cy="294956"/>
          </a:xfrm>
          <a:prstGeom prst="rect">
            <a:avLst/>
          </a:prstGeom>
        </p:spPr>
      </p:pic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681228" y="2019300"/>
            <a:ext cx="8829545" cy="28194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4800" baseline="0">
                <a:solidFill>
                  <a:schemeClr val="bg1"/>
                </a:solidFill>
              </a:defRPr>
            </a:lvl1pPr>
            <a:lvl2pPr algn="ctr">
              <a:defRPr sz="4800" baseline="0"/>
            </a:lvl2pPr>
            <a:lvl3pPr algn="ctr">
              <a:defRPr sz="4800" baseline="0"/>
            </a:lvl3pPr>
            <a:lvl4pPr algn="ctr">
              <a:defRPr sz="4800" baseline="0"/>
            </a:lvl4pPr>
            <a:lvl5pPr algn="ctr">
              <a:defRPr sz="4800" baseline="0"/>
            </a:lvl5pPr>
          </a:lstStyle>
          <a:p>
            <a:pPr lvl="0"/>
            <a:r>
              <a:rPr lang="en-US"/>
              <a:t>Singular thought, quote, or idea</a:t>
            </a:r>
            <a:br>
              <a:rPr lang="en-US"/>
            </a:br>
            <a:r>
              <a:rPr lang="en-US"/>
              <a:t>- Arial 48 pt. white. Keep short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6437103"/>
      </p:ext>
    </p:extLst>
  </p:cSld>
  <p:clrMapOvr>
    <a:masterClrMapping/>
  </p:clrMapOvr>
  <p:transition spd="med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Green single thought/quo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riangle 11"/>
          <p:cNvSpPr/>
          <p:nvPr/>
        </p:nvSpPr>
        <p:spPr>
          <a:xfrm rot="5400000">
            <a:off x="4544758" y="2072835"/>
            <a:ext cx="3155716" cy="2720445"/>
          </a:xfrm>
          <a:prstGeom prst="triangle">
            <a:avLst/>
          </a:prstGeom>
          <a:solidFill>
            <a:srgbClr val="056E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95491" y="6286500"/>
            <a:ext cx="685309" cy="294956"/>
          </a:xfrm>
          <a:prstGeom prst="rect">
            <a:avLst/>
          </a:prstGeom>
        </p:spPr>
      </p:pic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681228" y="2019300"/>
            <a:ext cx="8829545" cy="28194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4800" baseline="0">
                <a:solidFill>
                  <a:schemeClr val="bg1"/>
                </a:solidFill>
              </a:defRPr>
            </a:lvl1pPr>
            <a:lvl2pPr algn="ctr">
              <a:defRPr sz="4800" baseline="0"/>
            </a:lvl2pPr>
            <a:lvl3pPr algn="ctr">
              <a:defRPr sz="4800" baseline="0"/>
            </a:lvl3pPr>
            <a:lvl4pPr algn="ctr">
              <a:defRPr sz="4800" baseline="0"/>
            </a:lvl4pPr>
            <a:lvl5pPr algn="ctr">
              <a:defRPr sz="4800" baseline="0"/>
            </a:lvl5pPr>
          </a:lstStyle>
          <a:p>
            <a:pPr lvl="0"/>
            <a:r>
              <a:rPr lang="en-US"/>
              <a:t>Singular thought, quote, or idea</a:t>
            </a:r>
            <a:br>
              <a:rPr lang="en-US"/>
            </a:br>
            <a:r>
              <a:rPr lang="en-US"/>
              <a:t>- Arial 48 pt. white. Keep short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990244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1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D21E2CB-391E-E74E-90AE-4B5A47140739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2F82B885-0103-7D42-AE00-61FB2FE0C2F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022951 w 6096001"/>
              <a:gd name="connsiteY0" fmla="*/ 1876235 h 6858000"/>
              <a:gd name="connsiteX1" fmla="*/ 2208500 w 6096001"/>
              <a:gd name="connsiteY1" fmla="*/ 2461578 h 6858000"/>
              <a:gd name="connsiteX2" fmla="*/ 2208500 w 6096001"/>
              <a:gd name="connsiteY2" fmla="*/ 2993835 h 6858000"/>
              <a:gd name="connsiteX3" fmla="*/ 2859036 w 6096001"/>
              <a:gd name="connsiteY3" fmla="*/ 2643188 h 6858000"/>
              <a:gd name="connsiteX4" fmla="*/ 2859036 w 6096001"/>
              <a:gd name="connsiteY4" fmla="*/ 4981766 h 6858000"/>
              <a:gd name="connsiteX5" fmla="*/ 3371270 w 6096001"/>
              <a:gd name="connsiteY5" fmla="*/ 4981766 h 6858000"/>
              <a:gd name="connsiteX6" fmla="*/ 3371270 w 6096001"/>
              <a:gd name="connsiteY6" fmla="*/ 1876235 h 6858000"/>
              <a:gd name="connsiteX7" fmla="*/ 0 w 6096001"/>
              <a:gd name="connsiteY7" fmla="*/ 0 h 6858000"/>
              <a:gd name="connsiteX8" fmla="*/ 5214397 w 6096001"/>
              <a:gd name="connsiteY8" fmla="*/ 0 h 6858000"/>
              <a:gd name="connsiteX9" fmla="*/ 6096001 w 6096001"/>
              <a:gd name="connsiteY9" fmla="*/ 881604 h 6858000"/>
              <a:gd name="connsiteX10" fmla="*/ 6096001 w 6096001"/>
              <a:gd name="connsiteY10" fmla="*/ 6858000 h 6858000"/>
              <a:gd name="connsiteX11" fmla="*/ 0 w 6096001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6001" h="6858000">
                <a:moveTo>
                  <a:pt x="3022951" y="1876235"/>
                </a:moveTo>
                <a:cubicBezTo>
                  <a:pt x="2752748" y="2187766"/>
                  <a:pt x="2482545" y="2379155"/>
                  <a:pt x="2208500" y="2461578"/>
                </a:cubicBezTo>
                <a:lnTo>
                  <a:pt x="2208500" y="2993835"/>
                </a:lnTo>
                <a:cubicBezTo>
                  <a:pt x="2426199" y="2942146"/>
                  <a:pt x="2640057" y="2824798"/>
                  <a:pt x="2859036" y="2643188"/>
                </a:cubicBezTo>
                <a:lnTo>
                  <a:pt x="2859036" y="4981766"/>
                </a:lnTo>
                <a:lnTo>
                  <a:pt x="3371270" y="4981766"/>
                </a:lnTo>
                <a:lnTo>
                  <a:pt x="3371270" y="1876235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EC50268-B292-A44F-BED3-2C5DBBD260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7" name="Text Placeholder 29">
            <a:extLst>
              <a:ext uri="{FF2B5EF4-FFF2-40B4-BE49-F238E27FC236}">
                <a16:creationId xmlns:a16="http://schemas.microsoft.com/office/drawing/2014/main" id="{F9D1ECA4-2E76-AFCB-1752-45EC49E126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210A6CFC-9DAE-801C-CBAB-81E6DC1F91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379274384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Red/Teal imp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7139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95491" y="6286500"/>
            <a:ext cx="685309" cy="294956"/>
          </a:xfrm>
          <a:prstGeom prst="rect">
            <a:avLst/>
          </a:prstGeom>
        </p:spPr>
      </p:pic>
      <p:sp>
        <p:nvSpPr>
          <p:cNvPr id="8" name="Hexagon 7"/>
          <p:cNvSpPr/>
          <p:nvPr/>
        </p:nvSpPr>
        <p:spPr>
          <a:xfrm rot="16200000">
            <a:off x="3552826" y="1235425"/>
            <a:ext cx="5086350" cy="4387150"/>
          </a:xfrm>
          <a:prstGeom prst="hexagon">
            <a:avLst/>
          </a:prstGeom>
          <a:solidFill>
            <a:srgbClr val="005A8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152899" y="2019300"/>
            <a:ext cx="3867151" cy="28194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3200" baseline="0">
                <a:solidFill>
                  <a:schemeClr val="bg1"/>
                </a:solidFill>
              </a:defRPr>
            </a:lvl1pPr>
            <a:lvl2pPr algn="ctr">
              <a:defRPr sz="4800" baseline="0"/>
            </a:lvl2pPr>
            <a:lvl3pPr algn="ctr">
              <a:defRPr sz="4800" baseline="0"/>
            </a:lvl3pPr>
            <a:lvl4pPr algn="ctr">
              <a:defRPr sz="4800" baseline="0"/>
            </a:lvl4pPr>
            <a:lvl5pPr algn="ctr">
              <a:defRPr sz="4800" baseline="0"/>
            </a:lvl5pPr>
          </a:lstStyle>
          <a:p>
            <a:pPr lvl="0"/>
            <a:r>
              <a:rPr lang="en-US"/>
              <a:t>Impactful information for emphasis – Arial 32 pt.: Keep short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1054711"/>
      </p:ext>
    </p:extLst>
  </p:cSld>
  <p:clrMapOvr>
    <a:masterClrMapping/>
  </p:clrMapOvr>
  <p:transition spd="med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Purple/greenl imp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7139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95491" y="6286500"/>
            <a:ext cx="685309" cy="294956"/>
          </a:xfrm>
          <a:prstGeom prst="rect">
            <a:avLst/>
          </a:prstGeom>
        </p:spPr>
      </p:pic>
      <p:sp>
        <p:nvSpPr>
          <p:cNvPr id="8" name="Decagon 7"/>
          <p:cNvSpPr/>
          <p:nvPr/>
        </p:nvSpPr>
        <p:spPr>
          <a:xfrm rot="16200000">
            <a:off x="3695702" y="1028702"/>
            <a:ext cx="4800598" cy="4800598"/>
          </a:xfrm>
          <a:prstGeom prst="decagon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152899" y="2019300"/>
            <a:ext cx="3867151" cy="28194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3200" baseline="0">
                <a:solidFill>
                  <a:schemeClr val="bg1"/>
                </a:solidFill>
              </a:defRPr>
            </a:lvl1pPr>
            <a:lvl2pPr algn="ctr">
              <a:defRPr sz="4800" baseline="0"/>
            </a:lvl2pPr>
            <a:lvl3pPr algn="ctr">
              <a:defRPr sz="4800" baseline="0"/>
            </a:lvl3pPr>
            <a:lvl4pPr algn="ctr">
              <a:defRPr sz="4800" baseline="0"/>
            </a:lvl4pPr>
            <a:lvl5pPr algn="ctr">
              <a:defRPr sz="4800" baseline="0"/>
            </a:lvl5pPr>
          </a:lstStyle>
          <a:p>
            <a:pPr lvl="0"/>
            <a:r>
              <a:rPr lang="en-US"/>
              <a:t>Impactful information for emphasis – Arial 32 pt.: Keep short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362041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Green/purple imp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7139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95491" y="6286500"/>
            <a:ext cx="685309" cy="294956"/>
          </a:xfrm>
          <a:prstGeom prst="rect">
            <a:avLst/>
          </a:prstGeom>
        </p:spPr>
      </p:pic>
      <p:sp>
        <p:nvSpPr>
          <p:cNvPr id="8" name="Hexagon 7"/>
          <p:cNvSpPr/>
          <p:nvPr/>
        </p:nvSpPr>
        <p:spPr>
          <a:xfrm rot="16200000">
            <a:off x="3552826" y="1235425"/>
            <a:ext cx="5086350" cy="4387150"/>
          </a:xfrm>
          <a:prstGeom prst="hexagon">
            <a:avLst/>
          </a:prstGeom>
          <a:solidFill>
            <a:srgbClr val="37379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152899" y="2019300"/>
            <a:ext cx="3867151" cy="28194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3200" baseline="0">
                <a:solidFill>
                  <a:schemeClr val="bg1"/>
                </a:solidFill>
              </a:defRPr>
            </a:lvl1pPr>
            <a:lvl2pPr algn="ctr">
              <a:defRPr sz="4800" baseline="0"/>
            </a:lvl2pPr>
            <a:lvl3pPr algn="ctr">
              <a:defRPr sz="4800" baseline="0"/>
            </a:lvl3pPr>
            <a:lvl4pPr algn="ctr">
              <a:defRPr sz="4800" baseline="0"/>
            </a:lvl4pPr>
            <a:lvl5pPr algn="ctr">
              <a:defRPr sz="4800" baseline="0"/>
            </a:lvl5pPr>
          </a:lstStyle>
          <a:p>
            <a:pPr lvl="0"/>
            <a:r>
              <a:rPr lang="en-US"/>
              <a:t>Impactful information for emphasis – Arial 32 pt.: Keep short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7539712"/>
      </p:ext>
    </p:extLst>
  </p:cSld>
  <p:clrMapOvr>
    <a:masterClrMapping/>
  </p:clrMapOvr>
  <p:transition spd="med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Teal/red imp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7139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95491" y="6286500"/>
            <a:ext cx="685309" cy="294956"/>
          </a:xfrm>
          <a:prstGeom prst="rect">
            <a:avLst/>
          </a:prstGeom>
        </p:spPr>
      </p:pic>
      <p:sp>
        <p:nvSpPr>
          <p:cNvPr id="8" name="Decagon 7"/>
          <p:cNvSpPr/>
          <p:nvPr/>
        </p:nvSpPr>
        <p:spPr>
          <a:xfrm rot="16200000">
            <a:off x="3695702" y="1028702"/>
            <a:ext cx="4800598" cy="4800598"/>
          </a:xfrm>
          <a:prstGeom prst="decagon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152899" y="2019300"/>
            <a:ext cx="3867151" cy="28194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3200" baseline="0">
                <a:solidFill>
                  <a:schemeClr val="bg1"/>
                </a:solidFill>
              </a:defRPr>
            </a:lvl1pPr>
            <a:lvl2pPr algn="ctr">
              <a:defRPr sz="4800" baseline="0"/>
            </a:lvl2pPr>
            <a:lvl3pPr algn="ctr">
              <a:defRPr sz="4800" baseline="0"/>
            </a:lvl3pPr>
            <a:lvl4pPr algn="ctr">
              <a:defRPr sz="4800" baseline="0"/>
            </a:lvl4pPr>
            <a:lvl5pPr algn="ctr">
              <a:defRPr sz="4800" baseline="0"/>
            </a:lvl5pPr>
          </a:lstStyle>
          <a:p>
            <a:pPr lvl="0"/>
            <a:r>
              <a:rPr lang="en-US"/>
              <a:t>Impactful information for emphasis – Arial 32 pt.: Keep short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5682347"/>
      </p:ext>
    </p:extLst>
  </p:cSld>
  <p:clrMapOvr>
    <a:masterClrMapping/>
  </p:clrMapOvr>
  <p:transition spd="med"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Red/red impac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Hexagon 6"/>
          <p:cNvSpPr/>
          <p:nvPr/>
        </p:nvSpPr>
        <p:spPr>
          <a:xfrm>
            <a:off x="3137632" y="851824"/>
            <a:ext cx="5959926" cy="5137866"/>
          </a:xfrm>
          <a:prstGeom prst="hexag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17"/>
          <p:cNvSpPr/>
          <p:nvPr/>
        </p:nvSpPr>
        <p:spPr>
          <a:xfrm>
            <a:off x="1" y="792108"/>
            <a:ext cx="3014597" cy="5197583"/>
          </a:xfrm>
          <a:custGeom>
            <a:avLst/>
            <a:gdLst>
              <a:gd name="connsiteX0" fmla="*/ 0 w 2259599"/>
              <a:gd name="connsiteY0" fmla="*/ 0 h 3895861"/>
              <a:gd name="connsiteX1" fmla="*/ 2259599 w 2259599"/>
              <a:gd name="connsiteY1" fmla="*/ 3895861 h 3895861"/>
              <a:gd name="connsiteX2" fmla="*/ 0 w 2259599"/>
              <a:gd name="connsiteY2" fmla="*/ 3895861 h 389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59599" h="3895861">
                <a:moveTo>
                  <a:pt x="0" y="0"/>
                </a:moveTo>
                <a:lnTo>
                  <a:pt x="2259599" y="3895861"/>
                </a:lnTo>
                <a:lnTo>
                  <a:pt x="0" y="38958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8"/>
          <p:cNvSpPr/>
          <p:nvPr/>
        </p:nvSpPr>
        <p:spPr>
          <a:xfrm>
            <a:off x="9746018" y="857664"/>
            <a:ext cx="2453261" cy="5126184"/>
          </a:xfrm>
          <a:custGeom>
            <a:avLst/>
            <a:gdLst>
              <a:gd name="connsiteX0" fmla="*/ 1838848 w 1838848"/>
              <a:gd name="connsiteY0" fmla="*/ 0 h 3842344"/>
              <a:gd name="connsiteX1" fmla="*/ 1838848 w 1838848"/>
              <a:gd name="connsiteY1" fmla="*/ 3842344 h 3842344"/>
              <a:gd name="connsiteX2" fmla="*/ 1728674 w 1838848"/>
              <a:gd name="connsiteY2" fmla="*/ 3836781 h 3842344"/>
              <a:gd name="connsiteX3" fmla="*/ 0 w 1838848"/>
              <a:gd name="connsiteY3" fmla="*/ 1921172 h 3842344"/>
              <a:gd name="connsiteX4" fmla="*/ 1728674 w 1838848"/>
              <a:gd name="connsiteY4" fmla="*/ 5564 h 3842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38848" h="3842344">
                <a:moveTo>
                  <a:pt x="1838848" y="0"/>
                </a:moveTo>
                <a:lnTo>
                  <a:pt x="1838848" y="3842344"/>
                </a:lnTo>
                <a:lnTo>
                  <a:pt x="1728674" y="3836781"/>
                </a:lnTo>
                <a:cubicBezTo>
                  <a:pt x="757704" y="3738173"/>
                  <a:pt x="0" y="2918159"/>
                  <a:pt x="0" y="1921172"/>
                </a:cubicBezTo>
                <a:cubicBezTo>
                  <a:pt x="0" y="924186"/>
                  <a:pt x="757704" y="104171"/>
                  <a:pt x="1728674" y="556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430081" y="2406422"/>
            <a:ext cx="3375025" cy="120015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100%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430081" y="3654197"/>
            <a:ext cx="3375025" cy="92802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urther context</a:t>
            </a:r>
          </a:p>
          <a:p>
            <a:pPr lvl="0"/>
            <a:r>
              <a:rPr lang="en-US"/>
              <a:t>for number(s)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95491" y="6286500"/>
            <a:ext cx="685309" cy="294956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919302"/>
      </p:ext>
    </p:extLst>
  </p:cSld>
  <p:clrMapOvr>
    <a:masterClrMapping/>
  </p:clrMapOvr>
  <p:transition spd="med"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Final slides - contac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762000" y="2743201"/>
            <a:ext cx="3305907" cy="153888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4000"/>
              </a:lnSpc>
              <a:spcAft>
                <a:spcPts val="1800"/>
              </a:spcAft>
            </a:pPr>
            <a:r>
              <a:rPr lang="en-US" sz="3200">
                <a:solidFill>
                  <a:srgbClr val="F6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more information contact: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324600" y="2802268"/>
            <a:ext cx="4219575" cy="2768108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First and Last name</a:t>
            </a:r>
          </a:p>
          <a:p>
            <a:pPr lvl="0"/>
            <a:r>
              <a:rPr lang="en-US"/>
              <a:t>email@path.org</a:t>
            </a:r>
          </a:p>
          <a:p>
            <a:pPr lvl="0"/>
            <a:endParaRPr lang="en-US"/>
          </a:p>
          <a:p>
            <a:pPr lvl="0"/>
            <a:r>
              <a:rPr lang="en-US"/>
              <a:t>First and Last name</a:t>
            </a:r>
          </a:p>
          <a:p>
            <a:pPr lvl="0"/>
            <a:r>
              <a:rPr lang="en-US"/>
              <a:t>email@path.org</a:t>
            </a:r>
          </a:p>
        </p:txBody>
      </p:sp>
      <p:sp>
        <p:nvSpPr>
          <p:cNvPr id="4" name="Rectangle 3"/>
          <p:cNvSpPr/>
          <p:nvPr/>
        </p:nvSpPr>
        <p:spPr>
          <a:xfrm>
            <a:off x="532737" y="6257676"/>
            <a:ext cx="11131826" cy="4611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457270"/>
      </p:ext>
    </p:extLst>
  </p:cSld>
  <p:clrMapOvr>
    <a:masterClrMapping/>
  </p:clrMapOvr>
  <p:transition spd="med"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Final slides - closing slide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3051" y="2977252"/>
            <a:ext cx="2105898" cy="886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372651"/>
      </p:ext>
    </p:extLst>
  </p:cSld>
  <p:clrMapOvr>
    <a:masterClrMapping/>
  </p:clrMapOvr>
  <p:transition spd="med"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Final slides - closing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3051" y="3016866"/>
            <a:ext cx="2105898" cy="807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277227"/>
      </p:ext>
    </p:extLst>
  </p:cSld>
  <p:clrMapOvr>
    <a:masterClrMapping/>
  </p:clrMapOvr>
  <p:transition spd="med"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 ONLY: PATH 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1325563" y="557920"/>
            <a:ext cx="3290887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000" b="1">
                <a:solidFill>
                  <a:srgbClr val="454E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Colors</a:t>
            </a:r>
          </a:p>
        </p:txBody>
      </p:sp>
      <p:sp>
        <p:nvSpPr>
          <p:cNvPr id="45" name="TextBox 44"/>
          <p:cNvSpPr txBox="1">
            <a:spLocks noChangeArrowheads="1"/>
          </p:cNvSpPr>
          <p:nvPr/>
        </p:nvSpPr>
        <p:spPr bwMode="auto">
          <a:xfrm>
            <a:off x="1320007" y="774787"/>
            <a:ext cx="205838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000" b="0">
                <a:solidFill>
                  <a:srgbClr val="454E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ro</a:t>
            </a:r>
          </a:p>
        </p:txBody>
      </p:sp>
      <p:sp>
        <p:nvSpPr>
          <p:cNvPr id="46" name="TextBox 45"/>
          <p:cNvSpPr txBox="1">
            <a:spLocks noChangeArrowheads="1"/>
          </p:cNvSpPr>
          <p:nvPr/>
        </p:nvSpPr>
        <p:spPr bwMode="auto">
          <a:xfrm>
            <a:off x="7524962" y="768402"/>
            <a:ext cx="205838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000" b="0">
                <a:solidFill>
                  <a:srgbClr val="454E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ypographic</a:t>
            </a:r>
          </a:p>
        </p:txBody>
      </p:sp>
      <p:sp>
        <p:nvSpPr>
          <p:cNvPr id="47" name="TextBox 46"/>
          <p:cNvSpPr txBox="1">
            <a:spLocks noChangeArrowheads="1"/>
          </p:cNvSpPr>
          <p:nvPr/>
        </p:nvSpPr>
        <p:spPr bwMode="auto">
          <a:xfrm>
            <a:off x="4441975" y="774787"/>
            <a:ext cx="205838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000" b="0">
                <a:solidFill>
                  <a:srgbClr val="454E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utral backgrounds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1327477" y="1065640"/>
            <a:ext cx="2927589" cy="2080937"/>
          </a:xfrm>
          <a:prstGeom prst="rect">
            <a:avLst/>
          </a:prstGeom>
          <a:solidFill>
            <a:srgbClr val="F75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PATH Red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RGB: 246, 80, 80</a:t>
            </a:r>
            <a:b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HEX: F65050</a:t>
            </a:r>
          </a:p>
        </p:txBody>
      </p:sp>
      <p:grpSp>
        <p:nvGrpSpPr>
          <p:cNvPr id="48" name="Group 47"/>
          <p:cNvGrpSpPr/>
          <p:nvPr/>
        </p:nvGrpSpPr>
        <p:grpSpPr>
          <a:xfrm>
            <a:off x="4441975" y="1065641"/>
            <a:ext cx="2911985" cy="2080936"/>
            <a:chOff x="5672138" y="1152160"/>
            <a:chExt cx="2042205" cy="2080936"/>
          </a:xfrm>
        </p:grpSpPr>
        <p:sp>
          <p:nvSpPr>
            <p:cNvPr id="6" name="Rectangle 5"/>
            <p:cNvSpPr/>
            <p:nvPr/>
          </p:nvSpPr>
          <p:spPr bwMode="auto">
            <a:xfrm>
              <a:off x="5672138" y="1152160"/>
              <a:ext cx="2042205" cy="103429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1440" rIns="0" bIns="0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600">
                  <a:solidFill>
                    <a:srgbClr val="454E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TH Light Gray</a:t>
              </a:r>
            </a:p>
            <a:p>
              <a:pPr>
                <a:defRPr/>
              </a:pPr>
              <a:r>
                <a:rPr lang="en-US" sz="600">
                  <a:solidFill>
                    <a:srgbClr val="454E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GB: 232, 234, 235</a:t>
              </a:r>
              <a:br>
                <a:rPr lang="en-US" sz="600">
                  <a:solidFill>
                    <a:srgbClr val="454E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600">
                  <a:solidFill>
                    <a:srgbClr val="454E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X: E8EAEB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5672138" y="2265617"/>
              <a:ext cx="2042205" cy="967479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1440" rIns="0" bIns="0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600">
                  <a:solidFill>
                    <a:srgbClr val="454E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TH Beige</a:t>
              </a:r>
            </a:p>
            <a:p>
              <a:pPr>
                <a:defRPr/>
              </a:pPr>
              <a:r>
                <a:rPr lang="en-US" sz="600">
                  <a:solidFill>
                    <a:srgbClr val="454E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GB: 244, 237, 231</a:t>
              </a:r>
              <a:br>
                <a:rPr lang="en-US" sz="600">
                  <a:solidFill>
                    <a:srgbClr val="454E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600">
                  <a:solidFill>
                    <a:srgbClr val="454E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X: F4EDE7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7524962" y="1071815"/>
            <a:ext cx="2890429" cy="2080936"/>
            <a:chOff x="3512449" y="1152160"/>
            <a:chExt cx="2027087" cy="2080936"/>
          </a:xfrm>
        </p:grpSpPr>
        <p:sp>
          <p:nvSpPr>
            <p:cNvPr id="5" name="Rectangle 4"/>
            <p:cNvSpPr/>
            <p:nvPr/>
          </p:nvSpPr>
          <p:spPr bwMode="auto">
            <a:xfrm>
              <a:off x="3512449" y="1152160"/>
              <a:ext cx="2027087" cy="1034294"/>
            </a:xfrm>
            <a:prstGeom prst="rect">
              <a:avLst/>
            </a:prstGeom>
            <a:solidFill>
              <a:srgbClr val="454E6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1440" rIns="0" bIns="0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600">
                  <a:latin typeface="Arial" panose="020B0604020202020204" pitchFamily="34" charset="0"/>
                  <a:cs typeface="Arial" panose="020B0604020202020204" pitchFamily="34" charset="0"/>
                </a:rPr>
                <a:t>PATH Gray</a:t>
              </a:r>
            </a:p>
            <a:p>
              <a:pPr>
                <a:defRPr/>
              </a:pPr>
              <a:r>
                <a:rPr lang="en-US" sz="600">
                  <a:latin typeface="Arial" panose="020B0604020202020204" pitchFamily="34" charset="0"/>
                  <a:cs typeface="Arial" panose="020B0604020202020204" pitchFamily="34" charset="0"/>
                </a:rPr>
                <a:t>RGB: 70, 79, 97</a:t>
              </a:r>
              <a:br>
                <a:rPr lang="en-US" sz="60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600">
                  <a:latin typeface="Arial" panose="020B0604020202020204" pitchFamily="34" charset="0"/>
                  <a:cs typeface="Arial" panose="020B0604020202020204" pitchFamily="34" charset="0"/>
                </a:rPr>
                <a:t>HEX: 464F60</a:t>
              </a:r>
            </a:p>
          </p:txBody>
        </p:sp>
        <p:sp>
          <p:nvSpPr>
            <p:cNvPr id="43" name="Rectangle 42"/>
            <p:cNvSpPr/>
            <p:nvPr/>
          </p:nvSpPr>
          <p:spPr bwMode="auto">
            <a:xfrm>
              <a:off x="3512449" y="2265617"/>
              <a:ext cx="2027087" cy="9674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1440" rIns="0" bIns="0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600">
                  <a:latin typeface="Arial" panose="020B0604020202020204" pitchFamily="34" charset="0"/>
                  <a:cs typeface="Arial" panose="020B0604020202020204" pitchFamily="34" charset="0"/>
                </a:rPr>
                <a:t>Black</a:t>
              </a:r>
            </a:p>
            <a:p>
              <a:pPr>
                <a:defRPr/>
              </a:pPr>
              <a:r>
                <a:rPr lang="en-US" sz="600">
                  <a:latin typeface="Arial" panose="020B0604020202020204" pitchFamily="34" charset="0"/>
                  <a:cs typeface="Arial" panose="020B0604020202020204" pitchFamily="34" charset="0"/>
                </a:rPr>
                <a:t>RGB: 0, 0, 0</a:t>
              </a:r>
              <a:br>
                <a:rPr lang="en-US" sz="60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600">
                  <a:latin typeface="Arial" panose="020B0604020202020204" pitchFamily="34" charset="0"/>
                  <a:cs typeface="Arial" panose="020B0604020202020204" pitchFamily="34" charset="0"/>
                </a:rPr>
                <a:t>HEX: 000000</a:t>
              </a:r>
            </a:p>
          </p:txBody>
        </p:sp>
      </p:grpSp>
      <p:sp>
        <p:nvSpPr>
          <p:cNvPr id="44" name="TextBox 43"/>
          <p:cNvSpPr txBox="1">
            <a:spLocks noChangeArrowheads="1"/>
          </p:cNvSpPr>
          <p:nvPr/>
        </p:nvSpPr>
        <p:spPr bwMode="auto">
          <a:xfrm>
            <a:off x="1327477" y="3540982"/>
            <a:ext cx="4692484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000" b="1">
                <a:solidFill>
                  <a:srgbClr val="454E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 Color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320007" y="3828359"/>
            <a:ext cx="9117700" cy="2199908"/>
            <a:chOff x="1320007" y="3638705"/>
            <a:chExt cx="3966706" cy="2616863"/>
          </a:xfrm>
        </p:grpSpPr>
        <p:cxnSp>
          <p:nvCxnSpPr>
            <p:cNvPr id="66" name="Straight Connector 65"/>
            <p:cNvCxnSpPr/>
            <p:nvPr/>
          </p:nvCxnSpPr>
          <p:spPr>
            <a:xfrm>
              <a:off x="3322253" y="4592320"/>
              <a:ext cx="0" cy="1151467"/>
            </a:xfrm>
            <a:prstGeom prst="line">
              <a:avLst/>
            </a:prstGeom>
            <a:ln w="4445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7" name="Group 66"/>
            <p:cNvGrpSpPr/>
            <p:nvPr/>
          </p:nvGrpSpPr>
          <p:grpSpPr>
            <a:xfrm>
              <a:off x="1320007" y="3638705"/>
              <a:ext cx="3966706" cy="821046"/>
              <a:chOff x="7039149" y="3042090"/>
              <a:chExt cx="3966706" cy="821046"/>
            </a:xfrm>
          </p:grpSpPr>
          <p:sp>
            <p:nvSpPr>
              <p:cNvPr id="68" name="Rectangle 67"/>
              <p:cNvSpPr/>
              <p:nvPr/>
            </p:nvSpPr>
            <p:spPr bwMode="auto">
              <a:xfrm>
                <a:off x="7039149" y="3042090"/>
                <a:ext cx="957716" cy="82104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91440" rIns="0" bIns="0"/>
              <a:lstStyle/>
              <a:p>
                <a:pPr marL="0" marR="0" lvl="0" indent="0" algn="l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ark Red</a:t>
                </a:r>
              </a:p>
              <a:p>
                <a:pPr>
                  <a:defRPr/>
                </a:pPr>
                <a:r>
                  <a:rPr lang="en-US" sz="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GB: 168,</a:t>
                </a:r>
                <a:r>
                  <a:rPr lang="en-US" sz="600" baseline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0, 30</a:t>
                </a:r>
                <a:br>
                  <a:rPr lang="en-US" sz="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EX: A8001E</a:t>
                </a:r>
              </a:p>
            </p:txBody>
          </p:sp>
          <p:sp>
            <p:nvSpPr>
              <p:cNvPr id="69" name="Rectangle 68"/>
              <p:cNvSpPr/>
              <p:nvPr/>
            </p:nvSpPr>
            <p:spPr bwMode="auto">
              <a:xfrm>
                <a:off x="8043449" y="3047158"/>
                <a:ext cx="957716" cy="802137"/>
              </a:xfrm>
              <a:prstGeom prst="rect">
                <a:avLst/>
              </a:prstGeom>
              <a:solidFill>
                <a:srgbClr val="37379B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91440" rIns="0" bIns="0"/>
              <a:lstStyle/>
              <a:p>
                <a:pPr>
                  <a:defRPr/>
                </a:pPr>
                <a:r>
                  <a:rPr lang="en-US" sz="600">
                    <a:latin typeface="Arial" panose="020B0604020202020204" pitchFamily="34" charset="0"/>
                    <a:cs typeface="Arial" panose="020B0604020202020204" pitchFamily="34" charset="0"/>
                  </a:rPr>
                  <a:t>Dark Purple</a:t>
                </a:r>
              </a:p>
              <a:p>
                <a:pPr>
                  <a:defRPr/>
                </a:pPr>
                <a:r>
                  <a:rPr lang="en-US" sz="600">
                    <a:latin typeface="Arial" panose="020B0604020202020204" pitchFamily="34" charset="0"/>
                    <a:cs typeface="Arial" panose="020B0604020202020204" pitchFamily="34" charset="0"/>
                  </a:rPr>
                  <a:t>RGB: 55, 55, 155</a:t>
                </a:r>
                <a:br>
                  <a:rPr lang="en-US" sz="600"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600">
                    <a:latin typeface="Arial" panose="020B0604020202020204" pitchFamily="34" charset="0"/>
                    <a:cs typeface="Arial" panose="020B0604020202020204" pitchFamily="34" charset="0"/>
                  </a:rPr>
                  <a:t>HEX: 37379B</a:t>
                </a:r>
              </a:p>
            </p:txBody>
          </p:sp>
          <p:sp>
            <p:nvSpPr>
              <p:cNvPr id="70" name="Rectangle 69"/>
              <p:cNvSpPr/>
              <p:nvPr/>
            </p:nvSpPr>
            <p:spPr bwMode="auto">
              <a:xfrm>
                <a:off x="9045794" y="3042090"/>
                <a:ext cx="957716" cy="802137"/>
              </a:xfrm>
              <a:prstGeom prst="rect">
                <a:avLst/>
              </a:prstGeom>
              <a:solidFill>
                <a:srgbClr val="005A87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91440" rIns="0" bIns="0"/>
              <a:lstStyle/>
              <a:p>
                <a:pPr>
                  <a:defRPr/>
                </a:pPr>
                <a:r>
                  <a:rPr lang="en-US" sz="600">
                    <a:latin typeface="Arial" panose="020B0604020202020204" pitchFamily="34" charset="0"/>
                    <a:cs typeface="Arial" panose="020B0604020202020204" pitchFamily="34" charset="0"/>
                  </a:rPr>
                  <a:t>Dark Teal</a:t>
                </a:r>
              </a:p>
              <a:p>
                <a:pPr>
                  <a:defRPr/>
                </a:pPr>
                <a:r>
                  <a:rPr lang="en-US" sz="600">
                    <a:latin typeface="Arial" panose="020B0604020202020204" pitchFamily="34" charset="0"/>
                    <a:cs typeface="Arial" panose="020B0604020202020204" pitchFamily="34" charset="0"/>
                  </a:rPr>
                  <a:t>RGB: 0, 90, 135</a:t>
                </a:r>
                <a:br>
                  <a:rPr lang="en-US" sz="600"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600">
                    <a:latin typeface="Arial" panose="020B0604020202020204" pitchFamily="34" charset="0"/>
                    <a:cs typeface="Arial" panose="020B0604020202020204" pitchFamily="34" charset="0"/>
                  </a:rPr>
                  <a:t>HEX: 005A87</a:t>
                </a:r>
              </a:p>
            </p:txBody>
          </p:sp>
          <p:sp>
            <p:nvSpPr>
              <p:cNvPr id="71" name="Rectangle 70"/>
              <p:cNvSpPr/>
              <p:nvPr/>
            </p:nvSpPr>
            <p:spPr bwMode="auto">
              <a:xfrm>
                <a:off x="10048139" y="3042090"/>
                <a:ext cx="957716" cy="802136"/>
              </a:xfrm>
              <a:prstGeom prst="rect">
                <a:avLst/>
              </a:prstGeom>
              <a:solidFill>
                <a:srgbClr val="056E2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91440" rIns="0" bIns="0"/>
              <a:lstStyle/>
              <a:p>
                <a:pPr>
                  <a:defRPr/>
                </a:pPr>
                <a:r>
                  <a:rPr lang="en-US" sz="600">
                    <a:latin typeface="Arial" panose="020B0604020202020204" pitchFamily="34" charset="0"/>
                    <a:cs typeface="Arial" panose="020B0604020202020204" pitchFamily="34" charset="0"/>
                  </a:rPr>
                  <a:t>Dark Green</a:t>
                </a:r>
              </a:p>
              <a:p>
                <a:pPr>
                  <a:defRPr/>
                </a:pPr>
                <a:r>
                  <a:rPr lang="en-US" sz="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GB: 5, 110, 35</a:t>
                </a:r>
                <a:br>
                  <a:rPr lang="en-US" sz="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EX: 056E23</a:t>
                </a:r>
              </a:p>
            </p:txBody>
          </p:sp>
        </p:grpSp>
        <p:grpSp>
          <p:nvGrpSpPr>
            <p:cNvPr id="72" name="Group 71"/>
            <p:cNvGrpSpPr/>
            <p:nvPr/>
          </p:nvGrpSpPr>
          <p:grpSpPr>
            <a:xfrm>
              <a:off x="1320007" y="4538216"/>
              <a:ext cx="3966706" cy="821046"/>
              <a:chOff x="7039149" y="4184041"/>
              <a:chExt cx="3966706" cy="821046"/>
            </a:xfrm>
          </p:grpSpPr>
          <p:sp>
            <p:nvSpPr>
              <p:cNvPr id="73" name="Rectangle 72"/>
              <p:cNvSpPr/>
              <p:nvPr/>
            </p:nvSpPr>
            <p:spPr bwMode="auto">
              <a:xfrm>
                <a:off x="7039149" y="4184041"/>
                <a:ext cx="957716" cy="82104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91440" rIns="0" bIns="0"/>
              <a:lstStyle/>
              <a:p>
                <a:pPr marL="0" marR="0" lvl="0" indent="0" algn="l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ATH Red</a:t>
                </a:r>
              </a:p>
              <a:p>
                <a:pPr>
                  <a:defRPr/>
                </a:pPr>
                <a:r>
                  <a:rPr lang="en-US" sz="600">
                    <a:latin typeface="Arial" panose="020B0604020202020204" pitchFamily="34" charset="0"/>
                    <a:cs typeface="Arial" panose="020B0604020202020204" pitchFamily="34" charset="0"/>
                  </a:rPr>
                  <a:t>RGB: 246, 80, 80</a:t>
                </a:r>
                <a:br>
                  <a:rPr lang="en-US" sz="600"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600">
                    <a:latin typeface="Arial" panose="020B0604020202020204" pitchFamily="34" charset="0"/>
                    <a:cs typeface="Arial" panose="020B0604020202020204" pitchFamily="34" charset="0"/>
                  </a:rPr>
                  <a:t>HEX: F65050</a:t>
                </a:r>
              </a:p>
            </p:txBody>
          </p:sp>
          <p:sp>
            <p:nvSpPr>
              <p:cNvPr id="74" name="Rectangle 73"/>
              <p:cNvSpPr/>
              <p:nvPr/>
            </p:nvSpPr>
            <p:spPr bwMode="auto">
              <a:xfrm>
                <a:off x="8043449" y="4189109"/>
                <a:ext cx="957716" cy="802137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91440" rIns="0" bIns="0"/>
              <a:lstStyle/>
              <a:p>
                <a:pPr>
                  <a:defRPr/>
                </a:pPr>
                <a:r>
                  <a:rPr lang="en-US" sz="600">
                    <a:latin typeface="Arial" panose="020B0604020202020204" pitchFamily="34" charset="0"/>
                    <a:cs typeface="Arial" panose="020B0604020202020204" pitchFamily="34" charset="0"/>
                  </a:rPr>
                  <a:t>Purple</a:t>
                </a:r>
              </a:p>
              <a:p>
                <a:pPr>
                  <a:defRPr/>
                </a:pPr>
                <a:r>
                  <a:rPr lang="en-US" sz="600">
                    <a:latin typeface="Arial" panose="020B0604020202020204" pitchFamily="34" charset="0"/>
                    <a:cs typeface="Arial" panose="020B0604020202020204" pitchFamily="34" charset="0"/>
                  </a:rPr>
                  <a:t>RGB: 80, 80, 205</a:t>
                </a:r>
                <a:br>
                  <a:rPr lang="en-US" sz="600"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600">
                    <a:latin typeface="Arial" panose="020B0604020202020204" pitchFamily="34" charset="0"/>
                    <a:cs typeface="Arial" panose="020B0604020202020204" pitchFamily="34" charset="0"/>
                  </a:rPr>
                  <a:t>HEX: 5050CD</a:t>
                </a:r>
              </a:p>
            </p:txBody>
          </p:sp>
          <p:sp>
            <p:nvSpPr>
              <p:cNvPr id="75" name="Rectangle 74"/>
              <p:cNvSpPr/>
              <p:nvPr/>
            </p:nvSpPr>
            <p:spPr bwMode="auto">
              <a:xfrm>
                <a:off x="9045794" y="4184041"/>
                <a:ext cx="957716" cy="802137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91440" rIns="0" bIns="0"/>
              <a:lstStyle/>
              <a:p>
                <a:pPr>
                  <a:defRPr/>
                </a:pPr>
                <a:r>
                  <a:rPr lang="en-US" sz="600">
                    <a:latin typeface="Arial" panose="020B0604020202020204" pitchFamily="34" charset="0"/>
                    <a:cs typeface="Arial" panose="020B0604020202020204" pitchFamily="34" charset="0"/>
                  </a:rPr>
                  <a:t>Teal</a:t>
                </a:r>
              </a:p>
              <a:p>
                <a:pPr>
                  <a:defRPr/>
                </a:pPr>
                <a:r>
                  <a:rPr lang="en-US" sz="600">
                    <a:latin typeface="Arial" panose="020B0604020202020204" pitchFamily="34" charset="0"/>
                    <a:cs typeface="Arial" panose="020B0604020202020204" pitchFamily="34" charset="0"/>
                  </a:rPr>
                  <a:t>RGB: 0, 140, 155</a:t>
                </a:r>
                <a:br>
                  <a:rPr lang="en-US" sz="600"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600">
                    <a:latin typeface="Arial" panose="020B0604020202020204" pitchFamily="34" charset="0"/>
                    <a:cs typeface="Arial" panose="020B0604020202020204" pitchFamily="34" charset="0"/>
                  </a:rPr>
                  <a:t>HEX: 008C9B</a:t>
                </a:r>
              </a:p>
            </p:txBody>
          </p:sp>
          <p:sp>
            <p:nvSpPr>
              <p:cNvPr id="76" name="Rectangle 75"/>
              <p:cNvSpPr/>
              <p:nvPr/>
            </p:nvSpPr>
            <p:spPr bwMode="auto">
              <a:xfrm>
                <a:off x="10048139" y="4184041"/>
                <a:ext cx="957716" cy="802137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91440" rIns="0" bIns="0"/>
              <a:lstStyle/>
              <a:p>
                <a:pPr>
                  <a:defRPr/>
                </a:pPr>
                <a:r>
                  <a:rPr lang="en-US" sz="600">
                    <a:latin typeface="Arial" panose="020B0604020202020204" pitchFamily="34" charset="0"/>
                    <a:cs typeface="Arial" panose="020B0604020202020204" pitchFamily="34" charset="0"/>
                  </a:rPr>
                  <a:t>Green</a:t>
                </a:r>
              </a:p>
              <a:p>
                <a:pPr>
                  <a:defRPr/>
                </a:pPr>
                <a:r>
                  <a:rPr lang="en-US" sz="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GB: 30, 175, 95</a:t>
                </a:r>
                <a:br>
                  <a:rPr lang="en-US" sz="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6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EX: 1EAF5F</a:t>
                </a:r>
              </a:p>
            </p:txBody>
          </p:sp>
        </p:grpSp>
        <p:grpSp>
          <p:nvGrpSpPr>
            <p:cNvPr id="77" name="Group 76"/>
            <p:cNvGrpSpPr/>
            <p:nvPr/>
          </p:nvGrpSpPr>
          <p:grpSpPr>
            <a:xfrm>
              <a:off x="1320007" y="5434522"/>
              <a:ext cx="3966706" cy="821046"/>
              <a:chOff x="7039149" y="5325993"/>
              <a:chExt cx="3966706" cy="821046"/>
            </a:xfrm>
          </p:grpSpPr>
          <p:sp>
            <p:nvSpPr>
              <p:cNvPr id="78" name="Rectangle 77"/>
              <p:cNvSpPr/>
              <p:nvPr/>
            </p:nvSpPr>
            <p:spPr bwMode="auto">
              <a:xfrm>
                <a:off x="7039149" y="5325993"/>
                <a:ext cx="957716" cy="821046"/>
              </a:xfrm>
              <a:prstGeom prst="rect">
                <a:avLst/>
              </a:prstGeom>
              <a:solidFill>
                <a:srgbClr val="FBB9B9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91440" rIns="0" bIns="0"/>
              <a:lstStyle/>
              <a:p>
                <a:pPr marL="0" marR="0" lvl="0" indent="0" algn="l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astel Red</a:t>
                </a:r>
              </a:p>
              <a:p>
                <a:pPr>
                  <a:defRPr/>
                </a:pPr>
                <a:r>
                  <a:rPr lang="en-US" sz="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GB: 251, 185, 185</a:t>
                </a:r>
                <a:br>
                  <a:rPr lang="en-US" sz="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EX: FBB9B9</a:t>
                </a:r>
              </a:p>
            </p:txBody>
          </p:sp>
          <p:sp>
            <p:nvSpPr>
              <p:cNvPr id="79" name="Rectangle 78"/>
              <p:cNvSpPr/>
              <p:nvPr/>
            </p:nvSpPr>
            <p:spPr bwMode="auto">
              <a:xfrm>
                <a:off x="8043449" y="5331061"/>
                <a:ext cx="957716" cy="802137"/>
              </a:xfrm>
              <a:prstGeom prst="rect">
                <a:avLst/>
              </a:prstGeom>
              <a:solidFill>
                <a:srgbClr val="FFE178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91440" rIns="0" bIns="0"/>
              <a:lstStyle/>
              <a:p>
                <a:pPr>
                  <a:defRPr/>
                </a:pPr>
                <a:r>
                  <a:rPr lang="en-US" sz="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astel Yellow</a:t>
                </a:r>
              </a:p>
              <a:p>
                <a:pPr>
                  <a:defRPr/>
                </a:pPr>
                <a:r>
                  <a:rPr lang="en-US" sz="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GB: 255, 225, 120</a:t>
                </a:r>
                <a:br>
                  <a:rPr lang="en-US" sz="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EX: FFE178</a:t>
                </a:r>
              </a:p>
            </p:txBody>
          </p:sp>
          <p:sp>
            <p:nvSpPr>
              <p:cNvPr id="80" name="Rectangle 79"/>
              <p:cNvSpPr/>
              <p:nvPr/>
            </p:nvSpPr>
            <p:spPr bwMode="auto">
              <a:xfrm>
                <a:off x="9045794" y="5325993"/>
                <a:ext cx="957716" cy="802137"/>
              </a:xfrm>
              <a:prstGeom prst="rect">
                <a:avLst/>
              </a:prstGeom>
              <a:solidFill>
                <a:srgbClr val="99D1D7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91440" rIns="0" bIns="0"/>
              <a:lstStyle/>
              <a:p>
                <a:pPr>
                  <a:defRPr/>
                </a:pPr>
                <a:r>
                  <a:rPr lang="en-US" sz="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astel Teal</a:t>
                </a:r>
              </a:p>
              <a:p>
                <a:pPr>
                  <a:defRPr/>
                </a:pPr>
                <a:r>
                  <a:rPr lang="en-US" sz="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GB: 153, 209, 215</a:t>
                </a:r>
                <a:br>
                  <a:rPr lang="en-US" sz="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EX: 99D1D7</a:t>
                </a:r>
              </a:p>
            </p:txBody>
          </p:sp>
          <p:sp>
            <p:nvSpPr>
              <p:cNvPr id="81" name="Rectangle 80"/>
              <p:cNvSpPr/>
              <p:nvPr/>
            </p:nvSpPr>
            <p:spPr bwMode="auto">
              <a:xfrm>
                <a:off x="10048139" y="5325993"/>
                <a:ext cx="957716" cy="802137"/>
              </a:xfrm>
              <a:prstGeom prst="rect">
                <a:avLst/>
              </a:prstGeom>
              <a:solidFill>
                <a:srgbClr val="A5DFB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91440" rIns="0" bIns="0"/>
              <a:lstStyle/>
              <a:p>
                <a:pPr>
                  <a:defRPr/>
                </a:pPr>
                <a:r>
                  <a:rPr lang="en-US" sz="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astel Green</a:t>
                </a:r>
              </a:p>
              <a:p>
                <a:pPr>
                  <a:defRPr/>
                </a:pPr>
                <a:r>
                  <a:rPr lang="en-US" sz="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GB: 165, 223, 191</a:t>
                </a:r>
                <a:br>
                  <a:rPr lang="en-US" sz="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EX: A5DFBF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86128986"/>
      </p:ext>
    </p:extLst>
  </p:cSld>
  <p:clrMapOvr>
    <a:masterClrMapping/>
  </p:clrMapOvr>
  <p:transition spd="med"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 ONLY: PATH Data Vis 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1528763" y="972595"/>
            <a:ext cx="3290887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000" b="1">
                <a:solidFill>
                  <a:srgbClr val="454E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ualization Colors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1523207" y="3881003"/>
            <a:ext cx="1085850" cy="756516"/>
          </a:xfrm>
          <a:prstGeom prst="rect">
            <a:avLst/>
          </a:prstGeom>
          <a:solidFill>
            <a:srgbClr val="FCDBD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Red Tint 1</a:t>
            </a:r>
          </a:p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: 253, 220, 220</a:t>
            </a:r>
            <a:b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X: FDDCDC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3737150" y="3881003"/>
            <a:ext cx="1085850" cy="756516"/>
          </a:xfrm>
          <a:prstGeom prst="rect">
            <a:avLst/>
          </a:prstGeom>
          <a:solidFill>
            <a:srgbClr val="FA9B9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Red Tint 3</a:t>
            </a:r>
          </a:p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: 250, 155, 150</a:t>
            </a:r>
            <a:b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X: F99696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8133232" y="3881003"/>
            <a:ext cx="1085850" cy="756516"/>
          </a:xfrm>
          <a:prstGeom prst="rect">
            <a:avLst/>
          </a:prstGeom>
          <a:solidFill>
            <a:srgbClr val="9330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Red Tint </a:t>
            </a: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RGB: 147, 48, 48</a:t>
            </a:r>
            <a:b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HEX: 933030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5929166" y="3881003"/>
            <a:ext cx="1085850" cy="756516"/>
          </a:xfrm>
          <a:prstGeom prst="rect">
            <a:avLst/>
          </a:prstGeom>
          <a:solidFill>
            <a:srgbClr val="F65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Red Tint </a:t>
            </a: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RGB: 246, 80, 80</a:t>
            </a:r>
            <a:b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HEX: F65050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9238779" y="3881003"/>
            <a:ext cx="1085850" cy="756516"/>
          </a:xfrm>
          <a:prstGeom prst="rect">
            <a:avLst/>
          </a:prstGeom>
          <a:solidFill>
            <a:srgbClr val="62202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Red Tint </a:t>
            </a: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RGB: 98, 32, 32</a:t>
            </a:r>
            <a:b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HEX: 622020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4833158" y="3881003"/>
            <a:ext cx="1085850" cy="756516"/>
          </a:xfrm>
          <a:prstGeom prst="rect">
            <a:avLst/>
          </a:prstGeom>
          <a:solidFill>
            <a:srgbClr val="F7727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Red Tint </a:t>
            </a: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RGB: 247, 114, 114</a:t>
            </a:r>
            <a:b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HEX: F77272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2625240" y="3881003"/>
            <a:ext cx="1085850" cy="756516"/>
          </a:xfrm>
          <a:prstGeom prst="rect">
            <a:avLst/>
          </a:prstGeom>
          <a:solidFill>
            <a:srgbClr val="FBBAB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Red Tint 2</a:t>
            </a:r>
          </a:p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: 251, 185, 185</a:t>
            </a:r>
            <a:b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X: FBB9B9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7031199" y="3881003"/>
            <a:ext cx="1085850" cy="756516"/>
          </a:xfrm>
          <a:prstGeom prst="rect">
            <a:avLst/>
          </a:prstGeom>
          <a:solidFill>
            <a:srgbClr val="C4403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Red Tint </a:t>
            </a: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RGB: 196, 64, 64</a:t>
            </a:r>
            <a:b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HEX: C44040  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1523207" y="2925117"/>
            <a:ext cx="1085850" cy="756516"/>
          </a:xfrm>
          <a:prstGeom prst="rect">
            <a:avLst/>
          </a:prstGeom>
          <a:solidFill>
            <a:srgbClr val="D7ED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Teal Tint 1</a:t>
            </a:r>
          </a:p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: 215, 237, 239</a:t>
            </a:r>
            <a:b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X: D7EDEF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3737150" y="2925117"/>
            <a:ext cx="1085850" cy="756516"/>
          </a:xfrm>
          <a:prstGeom prst="rect">
            <a:avLst/>
          </a:prstGeom>
          <a:solidFill>
            <a:srgbClr val="66BAC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Teal Tint 3</a:t>
            </a:r>
          </a:p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: 102, 186, 195</a:t>
            </a:r>
            <a:b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X: 66BAC3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8134820" y="2922853"/>
            <a:ext cx="1085850" cy="758778"/>
          </a:xfrm>
          <a:prstGeom prst="rect">
            <a:avLst/>
          </a:prstGeom>
          <a:solidFill>
            <a:srgbClr val="005A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Teal Tint </a:t>
            </a: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RGB: 0, 90, 102</a:t>
            </a:r>
            <a:b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HEX: 005A66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5929166" y="2925117"/>
            <a:ext cx="1085850" cy="756516"/>
          </a:xfrm>
          <a:prstGeom prst="rect">
            <a:avLst/>
          </a:prstGeom>
          <a:solidFill>
            <a:srgbClr val="008C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Teal Tint </a:t>
            </a: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RGB: 0, 140, 155</a:t>
            </a:r>
            <a:b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HEX: 008C9B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9238779" y="2925117"/>
            <a:ext cx="1085850" cy="756516"/>
          </a:xfrm>
          <a:prstGeom prst="rect">
            <a:avLst/>
          </a:prstGeom>
          <a:solidFill>
            <a:srgbClr val="003A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Teal Tint </a:t>
            </a: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RGB: 0, 58, 70</a:t>
            </a:r>
            <a:b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HEX: 003A46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4833158" y="2925117"/>
            <a:ext cx="1085850" cy="756516"/>
          </a:xfrm>
          <a:prstGeom prst="rect">
            <a:avLst/>
          </a:prstGeom>
          <a:solidFill>
            <a:srgbClr val="32A3A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Teal Tint </a:t>
            </a: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RGB: 50, 163, 175</a:t>
            </a:r>
            <a:b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HEX: 32A3AF</a:t>
            </a:r>
          </a:p>
        </p:txBody>
      </p:sp>
      <p:sp>
        <p:nvSpPr>
          <p:cNvPr id="23" name="Rectangle 22"/>
          <p:cNvSpPr/>
          <p:nvPr/>
        </p:nvSpPr>
        <p:spPr bwMode="auto">
          <a:xfrm>
            <a:off x="2625240" y="2925117"/>
            <a:ext cx="1085850" cy="756516"/>
          </a:xfrm>
          <a:prstGeom prst="rect">
            <a:avLst/>
          </a:prstGeom>
          <a:solidFill>
            <a:srgbClr val="B2DCE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Teal Tint 2</a:t>
            </a:r>
          </a:p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: 178, 220, 225</a:t>
            </a:r>
            <a:b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X: B2DCE1</a:t>
            </a:r>
          </a:p>
        </p:txBody>
      </p:sp>
      <p:sp>
        <p:nvSpPr>
          <p:cNvPr id="24" name="Rectangle 23"/>
          <p:cNvSpPr/>
          <p:nvPr/>
        </p:nvSpPr>
        <p:spPr bwMode="auto">
          <a:xfrm>
            <a:off x="7031199" y="2925117"/>
            <a:ext cx="1085850" cy="756516"/>
          </a:xfrm>
          <a:prstGeom prst="rect">
            <a:avLst/>
          </a:prstGeom>
          <a:solidFill>
            <a:srgbClr val="00707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Teal Tint </a:t>
            </a: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RGB: 0, 112, 124</a:t>
            </a:r>
            <a:b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HEX: 00707C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1523207" y="1244069"/>
            <a:ext cx="1085850" cy="756516"/>
          </a:xfrm>
          <a:prstGeom prst="rect">
            <a:avLst/>
          </a:prstGeom>
          <a:solidFill>
            <a:srgbClr val="DDDCF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Purple Tint 1</a:t>
            </a:r>
          </a:p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: 220, 220, 245</a:t>
            </a:r>
            <a:b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X: DDDCF5</a:t>
            </a:r>
          </a:p>
        </p:txBody>
      </p:sp>
      <p:sp>
        <p:nvSpPr>
          <p:cNvPr id="26" name="Rectangle 25"/>
          <p:cNvSpPr/>
          <p:nvPr/>
        </p:nvSpPr>
        <p:spPr bwMode="auto">
          <a:xfrm>
            <a:off x="3737150" y="1244069"/>
            <a:ext cx="1085850" cy="756516"/>
          </a:xfrm>
          <a:prstGeom prst="rect">
            <a:avLst/>
          </a:prstGeom>
          <a:solidFill>
            <a:srgbClr val="9697E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 b="1">
                <a:solidFill>
                  <a:srgbClr val="0038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Purple Tint </a:t>
            </a: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: 150, 150, 225</a:t>
            </a:r>
            <a:b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X: 9697E2</a:t>
            </a:r>
          </a:p>
        </p:txBody>
      </p:sp>
      <p:sp>
        <p:nvSpPr>
          <p:cNvPr id="27" name="Rectangle 26"/>
          <p:cNvSpPr/>
          <p:nvPr/>
        </p:nvSpPr>
        <p:spPr bwMode="auto">
          <a:xfrm>
            <a:off x="8133232" y="1244069"/>
            <a:ext cx="1085850" cy="756516"/>
          </a:xfrm>
          <a:prstGeom prst="rect">
            <a:avLst/>
          </a:prstGeom>
          <a:solidFill>
            <a:srgbClr val="2F2F7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Data Vis Purple Tint 7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RGB: 48, 48, 123</a:t>
            </a:r>
            <a:b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HEX: 2F2F7B</a:t>
            </a:r>
          </a:p>
        </p:txBody>
      </p:sp>
      <p:sp>
        <p:nvSpPr>
          <p:cNvPr id="28" name="Rectangle 27"/>
          <p:cNvSpPr/>
          <p:nvPr/>
        </p:nvSpPr>
        <p:spPr bwMode="auto">
          <a:xfrm>
            <a:off x="5929166" y="1244069"/>
            <a:ext cx="1085850" cy="75651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Data Vis Purple Tint 5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RGB: 80, 80, 205</a:t>
            </a:r>
            <a:b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HEX: 5050CD</a:t>
            </a:r>
          </a:p>
        </p:txBody>
      </p:sp>
      <p:sp>
        <p:nvSpPr>
          <p:cNvPr id="29" name="Rectangle 28"/>
          <p:cNvSpPr/>
          <p:nvPr/>
        </p:nvSpPr>
        <p:spPr bwMode="auto">
          <a:xfrm>
            <a:off x="9238779" y="1244069"/>
            <a:ext cx="1085850" cy="756516"/>
          </a:xfrm>
          <a:prstGeom prst="rect">
            <a:avLst/>
          </a:prstGeom>
          <a:solidFill>
            <a:srgbClr val="1F205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Data Vis Purple Tint 8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RGB: 32, 32, 82</a:t>
            </a:r>
            <a:b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HEX: 1F2052</a:t>
            </a:r>
          </a:p>
        </p:txBody>
      </p:sp>
      <p:sp>
        <p:nvSpPr>
          <p:cNvPr id="30" name="Rectangle 29"/>
          <p:cNvSpPr/>
          <p:nvPr/>
        </p:nvSpPr>
        <p:spPr bwMode="auto">
          <a:xfrm>
            <a:off x="4833158" y="1244069"/>
            <a:ext cx="1085850" cy="756516"/>
          </a:xfrm>
          <a:prstGeom prst="rect">
            <a:avLst/>
          </a:prstGeom>
          <a:solidFill>
            <a:srgbClr val="7272D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Data Vis Purple Tint 4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RGB: 114, 114, 215</a:t>
            </a:r>
            <a:b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HEX: 7272D7</a:t>
            </a:r>
          </a:p>
        </p:txBody>
      </p:sp>
      <p:sp>
        <p:nvSpPr>
          <p:cNvPr id="31" name="Rectangle 30"/>
          <p:cNvSpPr/>
          <p:nvPr/>
        </p:nvSpPr>
        <p:spPr bwMode="auto">
          <a:xfrm>
            <a:off x="2625240" y="1244069"/>
            <a:ext cx="1085850" cy="756516"/>
          </a:xfrm>
          <a:prstGeom prst="rect">
            <a:avLst/>
          </a:prstGeom>
          <a:solidFill>
            <a:srgbClr val="B9B9E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Purple Tint 2</a:t>
            </a:r>
          </a:p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: 185, 185, 225</a:t>
            </a:r>
            <a:b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X: B9B9EB</a:t>
            </a:r>
          </a:p>
        </p:txBody>
      </p:sp>
      <p:sp>
        <p:nvSpPr>
          <p:cNvPr id="32" name="Rectangle 31"/>
          <p:cNvSpPr/>
          <p:nvPr/>
        </p:nvSpPr>
        <p:spPr bwMode="auto">
          <a:xfrm>
            <a:off x="7031199" y="1244069"/>
            <a:ext cx="1085850" cy="756516"/>
          </a:xfrm>
          <a:prstGeom prst="rect">
            <a:avLst/>
          </a:prstGeom>
          <a:solidFill>
            <a:srgbClr val="4040A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Data Vis Purple Tint 6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RGB: 64, 64, 164</a:t>
            </a:r>
            <a:b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HEX: 4040A4</a:t>
            </a:r>
          </a:p>
        </p:txBody>
      </p:sp>
      <p:sp>
        <p:nvSpPr>
          <p:cNvPr id="33" name="Rectangle 32"/>
          <p:cNvSpPr/>
          <p:nvPr/>
        </p:nvSpPr>
        <p:spPr bwMode="auto">
          <a:xfrm>
            <a:off x="1523207" y="2084593"/>
            <a:ext cx="1085850" cy="756516"/>
          </a:xfrm>
          <a:prstGeom prst="rect">
            <a:avLst/>
          </a:prstGeom>
          <a:solidFill>
            <a:srgbClr val="D3F0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Green Tint 1</a:t>
            </a:r>
          </a:p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: 210, 239, 223</a:t>
            </a:r>
          </a:p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X: D3F0DF</a:t>
            </a:r>
          </a:p>
        </p:txBody>
      </p:sp>
      <p:sp>
        <p:nvSpPr>
          <p:cNvPr id="34" name="Rectangle 33"/>
          <p:cNvSpPr/>
          <p:nvPr/>
        </p:nvSpPr>
        <p:spPr bwMode="auto">
          <a:xfrm>
            <a:off x="3737150" y="2084593"/>
            <a:ext cx="1085850" cy="756516"/>
          </a:xfrm>
          <a:prstGeom prst="rect">
            <a:avLst/>
          </a:prstGeom>
          <a:solidFill>
            <a:srgbClr val="78CF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Green Tint 3</a:t>
            </a:r>
          </a:p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: 120, 207, 159</a:t>
            </a:r>
            <a:b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X: 78CF9F</a:t>
            </a:r>
          </a:p>
        </p:txBody>
      </p:sp>
      <p:sp>
        <p:nvSpPr>
          <p:cNvPr id="35" name="Rectangle 34"/>
          <p:cNvSpPr/>
          <p:nvPr/>
        </p:nvSpPr>
        <p:spPr bwMode="auto">
          <a:xfrm>
            <a:off x="8133232" y="2084593"/>
            <a:ext cx="1085850" cy="756516"/>
          </a:xfrm>
          <a:prstGeom prst="rect">
            <a:avLst/>
          </a:prstGeom>
          <a:solidFill>
            <a:srgbClr val="1269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Green Tint </a:t>
            </a: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RGB: 18, 105, 57</a:t>
            </a:r>
            <a:b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HEX: 126939</a:t>
            </a:r>
          </a:p>
        </p:txBody>
      </p:sp>
      <p:sp>
        <p:nvSpPr>
          <p:cNvPr id="36" name="Rectangle 35"/>
          <p:cNvSpPr/>
          <p:nvPr/>
        </p:nvSpPr>
        <p:spPr bwMode="auto">
          <a:xfrm>
            <a:off x="5929166" y="2084593"/>
            <a:ext cx="1085850" cy="756516"/>
          </a:xfrm>
          <a:prstGeom prst="rect">
            <a:avLst/>
          </a:prstGeom>
          <a:solidFill>
            <a:srgbClr val="1EAF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Green Tint </a:t>
            </a: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  <a:p>
            <a:pPr>
              <a:defRPr/>
            </a:pPr>
            <a: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: 30, 175, 95</a:t>
            </a:r>
            <a:b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X: 1EAF5F</a:t>
            </a:r>
          </a:p>
        </p:txBody>
      </p:sp>
      <p:sp>
        <p:nvSpPr>
          <p:cNvPr id="37" name="Rectangle 36"/>
          <p:cNvSpPr/>
          <p:nvPr/>
        </p:nvSpPr>
        <p:spPr bwMode="auto">
          <a:xfrm>
            <a:off x="9238779" y="2084593"/>
            <a:ext cx="1085850" cy="756516"/>
          </a:xfrm>
          <a:prstGeom prst="rect">
            <a:avLst/>
          </a:prstGeom>
          <a:solidFill>
            <a:srgbClr val="0B46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Green Tint </a:t>
            </a: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</a:p>
          <a:p>
            <a:pPr>
              <a:defRPr/>
            </a:pPr>
            <a: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:12, 70, 38</a:t>
            </a:r>
            <a:b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X: 0B4625</a:t>
            </a:r>
          </a:p>
        </p:txBody>
      </p:sp>
      <p:sp>
        <p:nvSpPr>
          <p:cNvPr id="38" name="Rectangle 37"/>
          <p:cNvSpPr/>
          <p:nvPr/>
        </p:nvSpPr>
        <p:spPr bwMode="auto">
          <a:xfrm>
            <a:off x="4833158" y="2084593"/>
            <a:ext cx="1085850" cy="756516"/>
          </a:xfrm>
          <a:prstGeom prst="rect">
            <a:avLst/>
          </a:prstGeom>
          <a:solidFill>
            <a:srgbClr val="4ABF7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Green Tint 4</a:t>
            </a:r>
          </a:p>
          <a:p>
            <a:pPr>
              <a:defRPr/>
            </a:pPr>
            <a: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: 74, 191, 126</a:t>
            </a:r>
            <a:b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X: 4ABF7E</a:t>
            </a:r>
          </a:p>
        </p:txBody>
      </p:sp>
      <p:sp>
        <p:nvSpPr>
          <p:cNvPr id="39" name="Rectangle 38"/>
          <p:cNvSpPr/>
          <p:nvPr/>
        </p:nvSpPr>
        <p:spPr bwMode="auto">
          <a:xfrm>
            <a:off x="2625240" y="2084593"/>
            <a:ext cx="1085850" cy="756516"/>
          </a:xfrm>
          <a:prstGeom prst="rect">
            <a:avLst/>
          </a:prstGeom>
          <a:solidFill>
            <a:srgbClr val="A6DFB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Green Tint 2</a:t>
            </a:r>
          </a:p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: 165, 223, 191</a:t>
            </a:r>
            <a:b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X: A6DFBF</a:t>
            </a:r>
          </a:p>
        </p:txBody>
      </p:sp>
      <p:sp>
        <p:nvSpPr>
          <p:cNvPr id="40" name="Rectangle 39"/>
          <p:cNvSpPr/>
          <p:nvPr/>
        </p:nvSpPr>
        <p:spPr bwMode="auto">
          <a:xfrm>
            <a:off x="7031199" y="2084593"/>
            <a:ext cx="1085850" cy="756516"/>
          </a:xfrm>
          <a:prstGeom prst="rect">
            <a:avLst/>
          </a:prstGeom>
          <a:solidFill>
            <a:srgbClr val="188C4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Green Tint </a:t>
            </a: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RGB: 24, 140, 76</a:t>
            </a:r>
            <a:b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HEX: 188C4B </a:t>
            </a:r>
          </a:p>
        </p:txBody>
      </p:sp>
      <p:sp>
        <p:nvSpPr>
          <p:cNvPr id="53" name="Rectangle 52"/>
          <p:cNvSpPr/>
          <p:nvPr/>
        </p:nvSpPr>
        <p:spPr bwMode="auto">
          <a:xfrm>
            <a:off x="1523207" y="4728471"/>
            <a:ext cx="1085850" cy="756516"/>
          </a:xfrm>
          <a:prstGeom prst="rect">
            <a:avLst/>
          </a:prstGeom>
          <a:solidFill>
            <a:srgbClr val="E8EA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Gray Tint 1</a:t>
            </a:r>
          </a:p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: 232,234,235</a:t>
            </a:r>
          </a:p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X: E8EAEB</a:t>
            </a:r>
          </a:p>
        </p:txBody>
      </p:sp>
      <p:sp>
        <p:nvSpPr>
          <p:cNvPr id="54" name="Rectangle 53"/>
          <p:cNvSpPr/>
          <p:nvPr/>
        </p:nvSpPr>
        <p:spPr bwMode="auto">
          <a:xfrm>
            <a:off x="3737150" y="4728471"/>
            <a:ext cx="1085850" cy="756516"/>
          </a:xfrm>
          <a:prstGeom prst="rect">
            <a:avLst/>
          </a:prstGeom>
          <a:solidFill>
            <a:srgbClr val="B5B8B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Gray Tint 3</a:t>
            </a:r>
          </a:p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: 181,184,191</a:t>
            </a:r>
          </a:p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X: B5B8BF</a:t>
            </a:r>
          </a:p>
        </p:txBody>
      </p:sp>
      <p:sp>
        <p:nvSpPr>
          <p:cNvPr id="55" name="Rectangle 54"/>
          <p:cNvSpPr/>
          <p:nvPr/>
        </p:nvSpPr>
        <p:spPr bwMode="auto">
          <a:xfrm>
            <a:off x="8133232" y="4728471"/>
            <a:ext cx="1085850" cy="756516"/>
          </a:xfrm>
          <a:prstGeom prst="rect">
            <a:avLst/>
          </a:prstGeom>
          <a:solidFill>
            <a:srgbClr val="383F4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Gray Tint </a:t>
            </a: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RGB: 56, 63, 76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HEX: 383F4C</a:t>
            </a:r>
          </a:p>
        </p:txBody>
      </p:sp>
      <p:sp>
        <p:nvSpPr>
          <p:cNvPr id="56" name="Rectangle 55"/>
          <p:cNvSpPr/>
          <p:nvPr/>
        </p:nvSpPr>
        <p:spPr bwMode="auto">
          <a:xfrm>
            <a:off x="5929166" y="4728471"/>
            <a:ext cx="1085850" cy="756516"/>
          </a:xfrm>
          <a:prstGeom prst="rect">
            <a:avLst/>
          </a:prstGeom>
          <a:solidFill>
            <a:srgbClr val="6A72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Gray Tint </a:t>
            </a: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RGB: 106,114,127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HEX: 6B727F</a:t>
            </a:r>
          </a:p>
        </p:txBody>
      </p:sp>
      <p:sp>
        <p:nvSpPr>
          <p:cNvPr id="57" name="Rectangle 56"/>
          <p:cNvSpPr/>
          <p:nvPr/>
        </p:nvSpPr>
        <p:spPr bwMode="auto">
          <a:xfrm>
            <a:off x="9238779" y="4728471"/>
            <a:ext cx="1085850" cy="756516"/>
          </a:xfrm>
          <a:prstGeom prst="rect">
            <a:avLst/>
          </a:prstGeom>
          <a:solidFill>
            <a:srgbClr val="2A2F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Gray Tint </a:t>
            </a: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RGB: 42,47,57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HEX: 2A2F39</a:t>
            </a:r>
          </a:p>
        </p:txBody>
      </p:sp>
      <p:sp>
        <p:nvSpPr>
          <p:cNvPr id="58" name="Rectangle 57"/>
          <p:cNvSpPr/>
          <p:nvPr/>
        </p:nvSpPr>
        <p:spPr bwMode="auto">
          <a:xfrm>
            <a:off x="4833158" y="4728471"/>
            <a:ext cx="1085850" cy="756516"/>
          </a:xfrm>
          <a:prstGeom prst="rect">
            <a:avLst/>
          </a:prstGeom>
          <a:solidFill>
            <a:srgbClr val="9095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Gray Tint </a:t>
            </a: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RGB: 144,149,159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HEX: 90959F</a:t>
            </a:r>
          </a:p>
        </p:txBody>
      </p:sp>
      <p:sp>
        <p:nvSpPr>
          <p:cNvPr id="59" name="Rectangle 58"/>
          <p:cNvSpPr/>
          <p:nvPr/>
        </p:nvSpPr>
        <p:spPr bwMode="auto">
          <a:xfrm>
            <a:off x="2625240" y="4728471"/>
            <a:ext cx="1085850" cy="756516"/>
          </a:xfrm>
          <a:prstGeom prst="rect">
            <a:avLst/>
          </a:prstGeom>
          <a:solidFill>
            <a:srgbClr val="DADB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Gray Tint 2</a:t>
            </a:r>
          </a:p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: 218,219,223</a:t>
            </a:r>
          </a:p>
          <a:p>
            <a:pPr>
              <a:defRPr/>
            </a:pPr>
            <a:r>
              <a:rPr lang="en-US" sz="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X: DADBDF</a:t>
            </a:r>
          </a:p>
        </p:txBody>
      </p:sp>
      <p:sp>
        <p:nvSpPr>
          <p:cNvPr id="60" name="Rectangle 59"/>
          <p:cNvSpPr/>
          <p:nvPr/>
        </p:nvSpPr>
        <p:spPr bwMode="auto">
          <a:xfrm>
            <a:off x="7031199" y="4728471"/>
            <a:ext cx="1085850" cy="756516"/>
          </a:xfrm>
          <a:prstGeom prst="rect">
            <a:avLst/>
          </a:prstGeom>
          <a:solidFill>
            <a:srgbClr val="464F6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Ins="0" bIns="0"/>
          <a:lstStyle/>
          <a:p>
            <a:pPr>
              <a:defRPr/>
            </a:pPr>
            <a:r>
              <a:rPr lang="en-US" sz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 Gray Tint </a:t>
            </a: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RGB: 168,0,30</a:t>
            </a:r>
          </a:p>
          <a:p>
            <a:pPr>
              <a:defRPr/>
            </a:pPr>
            <a:r>
              <a:rPr lang="en-US" sz="600">
                <a:latin typeface="Arial" panose="020B0604020202020204" pitchFamily="34" charset="0"/>
                <a:cs typeface="Arial" panose="020B0604020202020204" pitchFamily="34" charset="0"/>
              </a:rPr>
              <a:t>HEX: 464F61 </a:t>
            </a:r>
          </a:p>
        </p:txBody>
      </p:sp>
      <p:sp>
        <p:nvSpPr>
          <p:cNvPr id="61" name="TextBox 60"/>
          <p:cNvSpPr txBox="1"/>
          <p:nvPr/>
        </p:nvSpPr>
        <p:spPr>
          <a:xfrm rot="16200000">
            <a:off x="18643" y="2357203"/>
            <a:ext cx="2437563" cy="2112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000">
                <a:solidFill>
                  <a:schemeClr val="tx2"/>
                </a:solidFill>
                <a:latin typeface="+mn-lt"/>
              </a:rPr>
              <a:t>Priority Data Vis colors</a:t>
            </a:r>
          </a:p>
        </p:txBody>
      </p:sp>
      <p:cxnSp>
        <p:nvCxnSpPr>
          <p:cNvPr id="63" name="Straight Connector 62"/>
          <p:cNvCxnSpPr/>
          <p:nvPr/>
        </p:nvCxnSpPr>
        <p:spPr>
          <a:xfrm>
            <a:off x="1343072" y="1244069"/>
            <a:ext cx="0" cy="2454372"/>
          </a:xfrm>
          <a:prstGeom prst="line">
            <a:avLst/>
          </a:prstGeom>
          <a:ln w="9525">
            <a:solidFill>
              <a:srgbClr val="454E60"/>
            </a:solidFill>
            <a:headEnd type="triangle" w="med" len="sm"/>
            <a:tailEnd type="triangle" w="med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9461288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2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D8B3FAE-10BA-7845-921A-76D948055D40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71AEB3A9-DC85-414C-A1EF-308330C0697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785EFCE5-1951-3242-A232-F252911C4EA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078800 w 6096001"/>
              <a:gd name="connsiteY0" fmla="*/ 1892300 h 6858000"/>
              <a:gd name="connsiteX1" fmla="*/ 2003079 w 6096001"/>
              <a:gd name="connsiteY1" fmla="*/ 2443193 h 6858000"/>
              <a:gd name="connsiteX2" fmla="*/ 2435905 w 6096001"/>
              <a:gd name="connsiteY2" fmla="*/ 2746603 h 6858000"/>
              <a:gd name="connsiteX3" fmla="*/ 3026635 w 6096001"/>
              <a:gd name="connsiteY3" fmla="*/ 2408238 h 6858000"/>
              <a:gd name="connsiteX4" fmla="*/ 3472150 w 6096001"/>
              <a:gd name="connsiteY4" fmla="*/ 2777364 h 6858000"/>
              <a:gd name="connsiteX5" fmla="*/ 2825026 w 6096001"/>
              <a:gd name="connsiteY5" fmla="*/ 3514218 h 6858000"/>
              <a:gd name="connsiteX6" fmla="*/ 1986161 w 6096001"/>
              <a:gd name="connsiteY6" fmla="*/ 4857893 h 6858000"/>
              <a:gd name="connsiteX7" fmla="*/ 1986161 w 6096001"/>
              <a:gd name="connsiteY7" fmla="*/ 5014492 h 6858000"/>
              <a:gd name="connsiteX8" fmla="*/ 4102356 w 6096001"/>
              <a:gd name="connsiteY8" fmla="*/ 5014492 h 6858000"/>
              <a:gd name="connsiteX9" fmla="*/ 4102356 w 6096001"/>
              <a:gd name="connsiteY9" fmla="*/ 4515333 h 6858000"/>
              <a:gd name="connsiteX10" fmla="*/ 2614957 w 6096001"/>
              <a:gd name="connsiteY10" fmla="*/ 4515333 h 6858000"/>
              <a:gd name="connsiteX11" fmla="*/ 3301557 w 6096001"/>
              <a:gd name="connsiteY11" fmla="*/ 3809239 h 6858000"/>
              <a:gd name="connsiteX12" fmla="*/ 4053011 w 6096001"/>
              <a:gd name="connsiteY12" fmla="*/ 2750798 h 6858000"/>
              <a:gd name="connsiteX13" fmla="*/ 3078800 w 6096001"/>
              <a:gd name="connsiteY13" fmla="*/ 1892300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078800" y="1892300"/>
                </a:moveTo>
                <a:cubicBezTo>
                  <a:pt x="2571252" y="1892300"/>
                  <a:pt x="2235706" y="2082456"/>
                  <a:pt x="2003079" y="2443193"/>
                </a:cubicBezTo>
                <a:lnTo>
                  <a:pt x="2435905" y="2746603"/>
                </a:lnTo>
                <a:cubicBezTo>
                  <a:pt x="2576891" y="2529882"/>
                  <a:pt x="2768632" y="2408238"/>
                  <a:pt x="3026635" y="2408238"/>
                </a:cubicBezTo>
                <a:cubicBezTo>
                  <a:pt x="3318476" y="2408238"/>
                  <a:pt x="3472150" y="2556447"/>
                  <a:pt x="3472150" y="2777364"/>
                </a:cubicBezTo>
                <a:cubicBezTo>
                  <a:pt x="3472150" y="3020651"/>
                  <a:pt x="3301557" y="3198224"/>
                  <a:pt x="2825026" y="3514218"/>
                </a:cubicBezTo>
                <a:cubicBezTo>
                  <a:pt x="2231476" y="3916901"/>
                  <a:pt x="1986161" y="4315389"/>
                  <a:pt x="1986161" y="4857893"/>
                </a:cubicBezTo>
                <a:lnTo>
                  <a:pt x="1986161" y="5014492"/>
                </a:lnTo>
                <a:lnTo>
                  <a:pt x="4102356" y="5014492"/>
                </a:lnTo>
                <a:lnTo>
                  <a:pt x="4102356" y="4515333"/>
                </a:lnTo>
                <a:lnTo>
                  <a:pt x="2614957" y="4515333"/>
                </a:lnTo>
                <a:cubicBezTo>
                  <a:pt x="2645974" y="4346150"/>
                  <a:pt x="2891289" y="4081889"/>
                  <a:pt x="3301557" y="3809239"/>
                </a:cubicBezTo>
                <a:cubicBezTo>
                  <a:pt x="3834483" y="3456891"/>
                  <a:pt x="4053011" y="3175852"/>
                  <a:pt x="4053011" y="2750798"/>
                </a:cubicBezTo>
                <a:cubicBezTo>
                  <a:pt x="4053011" y="2255833"/>
                  <a:pt x="3646972" y="1892300"/>
                  <a:pt x="3078800" y="1892300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ext Placeholder 29">
            <a:extLst>
              <a:ext uri="{FF2B5EF4-FFF2-40B4-BE49-F238E27FC236}">
                <a16:creationId xmlns:a16="http://schemas.microsoft.com/office/drawing/2014/main" id="{06A0666E-A97D-1003-AAE7-6FAEBACEBC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1" name="Text Placeholder 31">
            <a:extLst>
              <a:ext uri="{FF2B5EF4-FFF2-40B4-BE49-F238E27FC236}">
                <a16:creationId xmlns:a16="http://schemas.microsoft.com/office/drawing/2014/main" id="{098A54B8-9E40-BE44-A31D-00E6FC191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271449114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4459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05598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63628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30101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71022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28042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21921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534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7E7DAA2-4D74-8F73-20DD-AB5A220C5D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7851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1E0345EA-841F-0CDC-4D3D-6F8A441AA78F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333045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4332207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FBFCDEF-6E12-C006-44B4-B2738D0792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80334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3B5895DB-1292-CE69-F1CC-CA026DACAC13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395527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394A274-82C6-2D1C-8004-8E7FF7B76E2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69806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B32BCAEC-CD76-D152-C494-48F60F7BFD4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184999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916284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034B91B1-8758-0946-BB4D-13DA0D9CFAE1}"/>
              </a:ext>
            </a:extLst>
          </p:cNvPr>
          <p:cNvSpPr/>
          <p:nvPr userDrawn="1"/>
        </p:nvSpPr>
        <p:spPr>
          <a:xfrm>
            <a:off x="6241145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6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0C03D58-F9E4-0944-BD0B-946EEFB247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40376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80BF694F-37D7-D44B-8712-1767A33CD1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0376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1C6985EF-42F3-0D40-99CA-20F5F21446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0376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66519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3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B27288C-7259-9C4C-AE4F-E7A2FDA0B2B2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864648D-453B-ED4C-8BB1-586D325E3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36D7151-EE44-6D41-A861-17BC5B8F00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115819 w 6096001"/>
              <a:gd name="connsiteY0" fmla="*/ 1901215 h 6858000"/>
              <a:gd name="connsiteX1" fmla="*/ 2096475 w 6096001"/>
              <a:gd name="connsiteY1" fmla="*/ 2469051 h 6858000"/>
              <a:gd name="connsiteX2" fmla="*/ 2517092 w 6096001"/>
              <a:gd name="connsiteY2" fmla="*/ 2737003 h 6858000"/>
              <a:gd name="connsiteX3" fmla="*/ 3061016 w 6096001"/>
              <a:gd name="connsiteY3" fmla="*/ 2401022 h 6858000"/>
              <a:gd name="connsiteX4" fmla="*/ 3455600 w 6096001"/>
              <a:gd name="connsiteY4" fmla="*/ 2732838 h 6858000"/>
              <a:gd name="connsiteX5" fmla="*/ 2725345 w 6096001"/>
              <a:gd name="connsiteY5" fmla="*/ 3202101 h 6858000"/>
              <a:gd name="connsiteX6" fmla="*/ 2725345 w 6096001"/>
              <a:gd name="connsiteY6" fmla="*/ 3663034 h 6858000"/>
              <a:gd name="connsiteX7" fmla="*/ 3570688 w 6096001"/>
              <a:gd name="connsiteY7" fmla="*/ 4110083 h 6858000"/>
              <a:gd name="connsiteX8" fmla="*/ 3044575 w 6096001"/>
              <a:gd name="connsiteY8" fmla="*/ 4544637 h 6858000"/>
              <a:gd name="connsiteX9" fmla="*/ 2300618 w 6096001"/>
              <a:gd name="connsiteY9" fmla="*/ 4273909 h 6858000"/>
              <a:gd name="connsiteX10" fmla="*/ 1977278 w 6096001"/>
              <a:gd name="connsiteY10" fmla="*/ 4712628 h 6858000"/>
              <a:gd name="connsiteX11" fmla="*/ 1978648 w 6096001"/>
              <a:gd name="connsiteY11" fmla="*/ 4711240 h 6858000"/>
              <a:gd name="connsiteX12" fmla="*/ 3048685 w 6096001"/>
              <a:gd name="connsiteY12" fmla="*/ 5043056 h 6858000"/>
              <a:gd name="connsiteX13" fmla="*/ 4118722 w 6096001"/>
              <a:gd name="connsiteY13" fmla="*/ 4126744 h 6858000"/>
              <a:gd name="connsiteX14" fmla="*/ 3455600 w 6096001"/>
              <a:gd name="connsiteY14" fmla="*/ 3360373 h 6858000"/>
              <a:gd name="connsiteX15" fmla="*/ 3999524 w 6096001"/>
              <a:gd name="connsiteY15" fmla="*/ 2628712 h 6858000"/>
              <a:gd name="connsiteX16" fmla="*/ 3115819 w 6096001"/>
              <a:gd name="connsiteY16" fmla="*/ 1901215 h 6858000"/>
              <a:gd name="connsiteX17" fmla="*/ 0 w 6096001"/>
              <a:gd name="connsiteY17" fmla="*/ 0 h 6858000"/>
              <a:gd name="connsiteX18" fmla="*/ 5214397 w 6096001"/>
              <a:gd name="connsiteY18" fmla="*/ 0 h 6858000"/>
              <a:gd name="connsiteX19" fmla="*/ 6096001 w 6096001"/>
              <a:gd name="connsiteY19" fmla="*/ 881604 h 6858000"/>
              <a:gd name="connsiteX20" fmla="*/ 6096001 w 6096001"/>
              <a:gd name="connsiteY20" fmla="*/ 6858000 h 6858000"/>
              <a:gd name="connsiteX21" fmla="*/ 0 w 6096001"/>
              <a:gd name="connsiteY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096001" h="6858000">
                <a:moveTo>
                  <a:pt x="3115819" y="1901215"/>
                </a:moveTo>
                <a:cubicBezTo>
                  <a:pt x="2614368" y="1901215"/>
                  <a:pt x="2278697" y="2128905"/>
                  <a:pt x="2096475" y="2469051"/>
                </a:cubicBezTo>
                <a:lnTo>
                  <a:pt x="2517092" y="2737003"/>
                </a:lnTo>
                <a:cubicBezTo>
                  <a:pt x="2602037" y="2581508"/>
                  <a:pt x="2780148" y="2401022"/>
                  <a:pt x="3061016" y="2401022"/>
                </a:cubicBezTo>
                <a:cubicBezTo>
                  <a:pt x="3302151" y="2401022"/>
                  <a:pt x="3455600" y="2534304"/>
                  <a:pt x="3455600" y="2732838"/>
                </a:cubicBezTo>
                <a:cubicBezTo>
                  <a:pt x="3455600" y="2964693"/>
                  <a:pt x="3285710" y="3197936"/>
                  <a:pt x="2725345" y="3202101"/>
                </a:cubicBezTo>
                <a:lnTo>
                  <a:pt x="2725345" y="3663034"/>
                </a:lnTo>
                <a:cubicBezTo>
                  <a:pt x="3303521" y="3663034"/>
                  <a:pt x="3570688" y="3825471"/>
                  <a:pt x="3570688" y="4110083"/>
                </a:cubicBezTo>
                <a:cubicBezTo>
                  <a:pt x="3570688" y="4372481"/>
                  <a:pt x="3384356" y="4544637"/>
                  <a:pt x="3044575" y="4544637"/>
                </a:cubicBezTo>
                <a:cubicBezTo>
                  <a:pt x="2737676" y="4544637"/>
                  <a:pt x="2504761" y="4433570"/>
                  <a:pt x="2300618" y="4273909"/>
                </a:cubicBezTo>
                <a:lnTo>
                  <a:pt x="1977278" y="4712628"/>
                </a:lnTo>
                <a:lnTo>
                  <a:pt x="1978648" y="4711240"/>
                </a:lnTo>
                <a:cubicBezTo>
                  <a:pt x="2271846" y="4926434"/>
                  <a:pt x="2581486" y="5043056"/>
                  <a:pt x="3048685" y="5043056"/>
                </a:cubicBezTo>
                <a:cubicBezTo>
                  <a:pt x="3698106" y="5043056"/>
                  <a:pt x="4118722" y="4659870"/>
                  <a:pt x="4118722" y="4126744"/>
                </a:cubicBezTo>
                <a:cubicBezTo>
                  <a:pt x="4118722" y="3708850"/>
                  <a:pt x="3863886" y="3468665"/>
                  <a:pt x="3455600" y="3360373"/>
                </a:cubicBezTo>
                <a:cubicBezTo>
                  <a:pt x="3791271" y="3239587"/>
                  <a:pt x="3999524" y="2999402"/>
                  <a:pt x="3999524" y="2628712"/>
                </a:cubicBezTo>
                <a:cubicBezTo>
                  <a:pt x="3999524" y="2206653"/>
                  <a:pt x="3617271" y="1901215"/>
                  <a:pt x="3115819" y="1901215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Placeholder 29">
            <a:extLst>
              <a:ext uri="{FF2B5EF4-FFF2-40B4-BE49-F238E27FC236}">
                <a16:creationId xmlns:a16="http://schemas.microsoft.com/office/drawing/2014/main" id="{25C2FE18-7101-835D-ADE0-E6D02E757D2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2" name="Text Placeholder 31">
            <a:extLst>
              <a:ext uri="{FF2B5EF4-FFF2-40B4-BE49-F238E27FC236}">
                <a16:creationId xmlns:a16="http://schemas.microsoft.com/office/drawing/2014/main" id="{E4418E5A-E58F-0B96-77BA-27495CF8E9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358131908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5" y="1191566"/>
            <a:ext cx="360465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321443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321443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321443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64DF4DD-379B-FE5B-85E1-F80F85D07E89}"/>
              </a:ext>
            </a:extLst>
          </p:cNvPr>
          <p:cNvSpPr/>
          <p:nvPr userDrawn="1"/>
        </p:nvSpPr>
        <p:spPr>
          <a:xfrm>
            <a:off x="4290784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602ADDF3-C22C-9F63-2736-9FAAEA9A1E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0015" y="1378325"/>
            <a:ext cx="3201361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EC84208B-5390-D845-9BFC-BBE060B525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90015" y="2154362"/>
            <a:ext cx="3201361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62DC5739-6579-EFF5-5EE5-B79F9F4E3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90015" y="1597378"/>
            <a:ext cx="3201361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A0FC7906-8744-F3F8-AA4F-08ADB6E6D43E}"/>
              </a:ext>
            </a:extLst>
          </p:cNvPr>
          <p:cNvSpPr/>
          <p:nvPr userDrawn="1"/>
        </p:nvSpPr>
        <p:spPr>
          <a:xfrm>
            <a:off x="8065632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F3AC3934-9579-D587-96AD-27B72F22B2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4863" y="1378325"/>
            <a:ext cx="3211970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7A42317-1A24-1AA6-D076-0E969CCF8BE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64863" y="2154362"/>
            <a:ext cx="3211970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ADCC5B80-D27A-2762-3E95-436EEE5A0D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64863" y="1597378"/>
            <a:ext cx="3211970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424066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326198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288082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319B0B18-4860-DA36-3440-4533856C913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BF99AA58-9FC0-03DF-8208-27BED5F44ED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58071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AD148B2F-B493-BFBF-8393-261886DA3EE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846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7925902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87491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87491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87491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59044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59044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59044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30597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3059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3059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977197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49400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49400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D3B567E7-3D24-6F43-A35A-BBC5B9C571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5938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3E388B6-7D3E-7F4E-89BF-34EFDCA27B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49400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881671EB-257B-ED4B-947C-F1B6F4FDC8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49400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2691027-CA0E-E24A-BE52-C681CD136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98773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C29C828-D0AF-8740-B636-DCE11FB0484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32235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58CECF4C-60E6-054F-A58B-39ED49ED6AD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32235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CD7BB1DF-4B0D-0046-AD00-F6E58908BDE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98773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DABD8D9-C71A-A446-8E62-82A359216E9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32235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0340EBB2-1491-9444-9D25-3567B2AAB22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532235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286946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3" name="Round Same-side Corner of Rectangle 22">
            <a:extLst>
              <a:ext uri="{FF2B5EF4-FFF2-40B4-BE49-F238E27FC236}">
                <a16:creationId xmlns:a16="http://schemas.microsoft.com/office/drawing/2014/main" id="{16D0EA1C-2C30-674C-9E0D-D3B85EFE8B44}"/>
              </a:ext>
            </a:extLst>
          </p:cNvPr>
          <p:cNvSpPr/>
          <p:nvPr userDrawn="1"/>
        </p:nvSpPr>
        <p:spPr>
          <a:xfrm rot="5400000" flipH="1">
            <a:off x="8698709" y="2420146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933F7F4-7E4A-AD4A-B080-3883C01BCEA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955149" y="5013397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6DF01F6-3014-6E4B-AB71-62673ED726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955149" y="4663313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E49618F2-620F-A042-9095-E7C4C137E2E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957092" y="4846809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Round Same-side Corner of Rectangle 26">
            <a:extLst>
              <a:ext uri="{FF2B5EF4-FFF2-40B4-BE49-F238E27FC236}">
                <a16:creationId xmlns:a16="http://schemas.microsoft.com/office/drawing/2014/main" id="{CFB215F2-B96A-D14F-B549-E8D9FA660A0B}"/>
              </a:ext>
            </a:extLst>
          </p:cNvPr>
          <p:cNvSpPr/>
          <p:nvPr userDrawn="1"/>
        </p:nvSpPr>
        <p:spPr>
          <a:xfrm rot="5400000" flipH="1">
            <a:off x="8698709" y="791363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F2701821-5C13-4746-B598-28CE9EEFDFD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955149" y="3384614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C928579-FF9D-8E4F-912D-F44BF03ECF0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55149" y="3034530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617E54E-8C7A-E24B-A3E6-FFD19643023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957092" y="3218026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468DF2F5-0340-4C4E-8BAB-B68D68BDB1CC}"/>
              </a:ext>
            </a:extLst>
          </p:cNvPr>
          <p:cNvSpPr/>
          <p:nvPr userDrawn="1"/>
        </p:nvSpPr>
        <p:spPr>
          <a:xfrm rot="5400000" flipH="1">
            <a:off x="8698709" y="-837418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8297A7AF-4FD1-0044-A50C-5C0CE488521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55149" y="1755833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6C19D012-767E-A845-8105-4B4C4887921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55149" y="1405749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DD5DD0FD-09C0-E049-944D-E6046E4FD56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957092" y="1589245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9539732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026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026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894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94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3761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3761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3761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id="{8B57295D-E6CF-D31C-B144-FCA5CB14DF6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6629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AD0246CA-EA99-001F-02B9-8BA52DCE733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62940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3D355FF6-773D-9D18-B07A-AFAED992F8C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662940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138124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5498C8CE-3879-2F54-526A-4FB3BC35A614}"/>
              </a:ext>
            </a:extLst>
          </p:cNvPr>
          <p:cNvGrpSpPr/>
          <p:nvPr userDrawn="1"/>
        </p:nvGrpSpPr>
        <p:grpSpPr>
          <a:xfrm>
            <a:off x="506981" y="2354656"/>
            <a:ext cx="11169081" cy="3558782"/>
            <a:chOff x="506982" y="1923728"/>
            <a:chExt cx="8410120" cy="2679700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FF8E22B8-C626-33CF-AF31-C216F15358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859702" y="1923728"/>
              <a:ext cx="2057400" cy="2679700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51CC370D-D55C-CF1D-A84D-FC3FD269EF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33662" y="1923728"/>
              <a:ext cx="2209800" cy="26797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0CF38F8D-CE10-398F-DC92-0410984D5C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607622" y="1923728"/>
              <a:ext cx="2209800" cy="2679700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71C8FE21-D454-2669-5018-BDB88B7A46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06982" y="1923728"/>
              <a:ext cx="2184400" cy="2679700"/>
            </a:xfrm>
            <a:prstGeom prst="rect">
              <a:avLst/>
            </a:prstGeom>
          </p:spPr>
        </p:pic>
      </p:grp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469A369E-3216-3A94-D069-C4212D6C5B2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853194"/>
          </a:xfrm>
        </p:spPr>
        <p:txBody>
          <a:bodyPr numCol="1" spcCol="180000"/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8A9C1315-921F-285F-D6BD-A177DE53DC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5643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F0999A6-8092-1A74-E3A2-26CC341F65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5643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5E81801-D408-BD68-8EF8-821176E431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3362" y="3054704"/>
            <a:ext cx="2231105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E29D8EA-6114-4150-3B97-EAD0BB047B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3362" y="2501966"/>
            <a:ext cx="2231105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832C3EE2-E731-14E8-F235-F0DC107603F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96559" y="3054704"/>
            <a:ext cx="2251850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3514D2BC-4EB5-482F-640F-D4ECA3398E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96559" y="2501966"/>
            <a:ext cx="2251850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76B8D71-6027-E9D4-DE0B-4336DE4C876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244461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06DA17C-A871-793A-2C8F-F98A0EDA8E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44461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287677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652260" y="1304924"/>
            <a:ext cx="5033328" cy="4608501"/>
          </a:xfrm>
        </p:spPr>
        <p:txBody>
          <a:bodyPr numCol="1" spcCol="180000">
            <a:noAutofit/>
          </a:bodyPr>
          <a:lstStyle>
            <a:lvl1pPr marL="0" indent="0"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4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569864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345193" y="1304925"/>
            <a:ext cx="5340395" cy="312265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BC205A0-AF05-E822-A6D1-8E80B8895804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20902314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315BB4-CEA5-4429-26F4-D4B56B8BE1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59525" y="368300"/>
            <a:ext cx="5326063" cy="2685505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2F1485A-E0B4-C14E-58C4-9144A8FEE29C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23745093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4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B27288C-7259-9C4C-AE4F-E7A2FDA0B2B2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864648D-453B-ED4C-8BB1-586D325E3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66FEC1B-CB13-FBEB-0D56-B30A0523DF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1" cy="6858000"/>
          </a:xfrm>
          <a:custGeom>
            <a:avLst/>
            <a:gdLst>
              <a:gd name="connsiteX0" fmla="*/ 3218999 w 6096001"/>
              <a:gd name="connsiteY0" fmla="*/ 2668987 h 6858000"/>
              <a:gd name="connsiteX1" fmla="*/ 3218999 w 6096001"/>
              <a:gd name="connsiteY1" fmla="*/ 3752595 h 6858000"/>
              <a:gd name="connsiteX2" fmla="*/ 2442001 w 6096001"/>
              <a:gd name="connsiteY2" fmla="*/ 3752595 h 6858000"/>
              <a:gd name="connsiteX3" fmla="*/ 3218999 w 6096001"/>
              <a:gd name="connsiteY3" fmla="*/ 1883188 h 6858000"/>
              <a:gd name="connsiteX4" fmla="*/ 1820976 w 6096001"/>
              <a:gd name="connsiteY4" fmla="*/ 3839578 h 6858000"/>
              <a:gd name="connsiteX5" fmla="*/ 1820976 w 6096001"/>
              <a:gd name="connsiteY5" fmla="*/ 4242061 h 6858000"/>
              <a:gd name="connsiteX6" fmla="*/ 3218999 w 6096001"/>
              <a:gd name="connsiteY6" fmla="*/ 4242061 h 6858000"/>
              <a:gd name="connsiteX7" fmla="*/ 3218999 w 6096001"/>
              <a:gd name="connsiteY7" fmla="*/ 5164970 h 6858000"/>
              <a:gd name="connsiteX8" fmla="*/ 3791372 w 6096001"/>
              <a:gd name="connsiteY8" fmla="*/ 5164970 h 6858000"/>
              <a:gd name="connsiteX9" fmla="*/ 3791372 w 6096001"/>
              <a:gd name="connsiteY9" fmla="*/ 4242061 h 6858000"/>
              <a:gd name="connsiteX10" fmla="*/ 4275028 w 6096001"/>
              <a:gd name="connsiteY10" fmla="*/ 4242061 h 6858000"/>
              <a:gd name="connsiteX11" fmla="*/ 4275028 w 6096001"/>
              <a:gd name="connsiteY11" fmla="*/ 3752595 h 6858000"/>
              <a:gd name="connsiteX12" fmla="*/ 3791372 w 6096001"/>
              <a:gd name="connsiteY12" fmla="*/ 3752595 h 6858000"/>
              <a:gd name="connsiteX13" fmla="*/ 3791372 w 6096001"/>
              <a:gd name="connsiteY13" fmla="*/ 1883188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218999" y="2668987"/>
                </a:moveTo>
                <a:lnTo>
                  <a:pt x="3218999" y="3752595"/>
                </a:lnTo>
                <a:lnTo>
                  <a:pt x="2442001" y="3752595"/>
                </a:lnTo>
                <a:close/>
                <a:moveTo>
                  <a:pt x="3218999" y="1883188"/>
                </a:moveTo>
                <a:lnTo>
                  <a:pt x="1820976" y="3839578"/>
                </a:lnTo>
                <a:lnTo>
                  <a:pt x="1820976" y="4242061"/>
                </a:lnTo>
                <a:lnTo>
                  <a:pt x="3218999" y="4242061"/>
                </a:lnTo>
                <a:lnTo>
                  <a:pt x="3218999" y="5164970"/>
                </a:lnTo>
                <a:lnTo>
                  <a:pt x="3791372" y="5164970"/>
                </a:lnTo>
                <a:lnTo>
                  <a:pt x="3791372" y="4242061"/>
                </a:lnTo>
                <a:lnTo>
                  <a:pt x="4275028" y="4242061"/>
                </a:lnTo>
                <a:lnTo>
                  <a:pt x="4275028" y="3752595"/>
                </a:lnTo>
                <a:lnTo>
                  <a:pt x="3791372" y="3752595"/>
                </a:lnTo>
                <a:lnTo>
                  <a:pt x="3791372" y="1883188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Text Placeholder 29">
            <a:extLst>
              <a:ext uri="{FF2B5EF4-FFF2-40B4-BE49-F238E27FC236}">
                <a16:creationId xmlns:a16="http://schemas.microsoft.com/office/drawing/2014/main" id="{685E723E-9B95-DE16-D2D8-EB21AE8AD08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92B6EC2E-829A-8421-4DF9-E5CDC6DA54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397254640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7">
            <a:extLst>
              <a:ext uri="{FF2B5EF4-FFF2-40B4-BE49-F238E27FC236}">
                <a16:creationId xmlns:a16="http://schemas.microsoft.com/office/drawing/2014/main" id="{1426049D-A517-EA42-AFCA-8DDB22C6BA3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95588" y="-10508"/>
            <a:ext cx="5711376" cy="6879020"/>
          </a:xfrm>
          <a:custGeom>
            <a:avLst/>
            <a:gdLst>
              <a:gd name="connsiteX0" fmla="*/ 0 w 7962406"/>
              <a:gd name="connsiteY0" fmla="*/ 0 h 6857999"/>
              <a:gd name="connsiteX1" fmla="*/ 7962406 w 7962406"/>
              <a:gd name="connsiteY1" fmla="*/ 0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0" fmla="*/ 0 w 7962406"/>
              <a:gd name="connsiteY0" fmla="*/ 0 h 6857999"/>
              <a:gd name="connsiteX1" fmla="*/ 6039013 w 7962406"/>
              <a:gd name="connsiteY1" fmla="*/ 84083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5" fmla="*/ 0 w 7962406"/>
              <a:gd name="connsiteY5" fmla="*/ 0 h 6857999"/>
              <a:gd name="connsiteX0" fmla="*/ 0 w 7962406"/>
              <a:gd name="connsiteY0" fmla="*/ 10510 h 6868509"/>
              <a:gd name="connsiteX1" fmla="*/ 6144117 w 7962406"/>
              <a:gd name="connsiteY1" fmla="*/ 0 h 6868509"/>
              <a:gd name="connsiteX2" fmla="*/ 7962406 w 7962406"/>
              <a:gd name="connsiteY2" fmla="*/ 6868509 h 6868509"/>
              <a:gd name="connsiteX3" fmla="*/ 1019785 w 7962406"/>
              <a:gd name="connsiteY3" fmla="*/ 6868509 h 6868509"/>
              <a:gd name="connsiteX4" fmla="*/ 0 w 7962406"/>
              <a:gd name="connsiteY4" fmla="*/ 5848724 h 6868509"/>
              <a:gd name="connsiteX5" fmla="*/ 0 w 7962406"/>
              <a:gd name="connsiteY5" fmla="*/ 10510 h 6868509"/>
              <a:gd name="connsiteX0" fmla="*/ 0 w 6144117"/>
              <a:gd name="connsiteY0" fmla="*/ 10510 h 6868509"/>
              <a:gd name="connsiteX1" fmla="*/ 6144117 w 6144117"/>
              <a:gd name="connsiteY1" fmla="*/ 0 h 6868509"/>
              <a:gd name="connsiteX2" fmla="*/ 5660640 w 6144117"/>
              <a:gd name="connsiteY2" fmla="*/ 6563709 h 6868509"/>
              <a:gd name="connsiteX3" fmla="*/ 1019785 w 6144117"/>
              <a:gd name="connsiteY3" fmla="*/ 6868509 h 6868509"/>
              <a:gd name="connsiteX4" fmla="*/ 0 w 6144117"/>
              <a:gd name="connsiteY4" fmla="*/ 5848724 h 6868509"/>
              <a:gd name="connsiteX5" fmla="*/ 0 w 6144117"/>
              <a:gd name="connsiteY5" fmla="*/ 10510 h 6868509"/>
              <a:gd name="connsiteX0" fmla="*/ 0 w 6154626"/>
              <a:gd name="connsiteY0" fmla="*/ 10510 h 6879020"/>
              <a:gd name="connsiteX1" fmla="*/ 6144117 w 6154626"/>
              <a:gd name="connsiteY1" fmla="*/ 0 h 6879020"/>
              <a:gd name="connsiteX2" fmla="*/ 6154626 w 6154626"/>
              <a:gd name="connsiteY2" fmla="*/ 6879020 h 6879020"/>
              <a:gd name="connsiteX3" fmla="*/ 1019785 w 6154626"/>
              <a:gd name="connsiteY3" fmla="*/ 6868509 h 6879020"/>
              <a:gd name="connsiteX4" fmla="*/ 0 w 6154626"/>
              <a:gd name="connsiteY4" fmla="*/ 5848724 h 6879020"/>
              <a:gd name="connsiteX5" fmla="*/ 0 w 6154626"/>
              <a:gd name="connsiteY5" fmla="*/ 10510 h 687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4626" h="6879020">
                <a:moveTo>
                  <a:pt x="0" y="10510"/>
                </a:moveTo>
                <a:lnTo>
                  <a:pt x="6144117" y="0"/>
                </a:lnTo>
                <a:lnTo>
                  <a:pt x="6154626" y="6879020"/>
                </a:lnTo>
                <a:lnTo>
                  <a:pt x="1019785" y="6868509"/>
                </a:lnTo>
                <a:cubicBezTo>
                  <a:pt x="456573" y="6868509"/>
                  <a:pt x="0" y="6411936"/>
                  <a:pt x="0" y="5848724"/>
                </a:cubicBezTo>
                <a:lnTo>
                  <a:pt x="0" y="105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5077738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1776275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2F4BDEF-FEFC-0BDD-3EB4-7710855ED6AB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515937" y="1329378"/>
            <a:ext cx="5580062" cy="4637076"/>
          </a:xfrm>
        </p:spPr>
        <p:txBody>
          <a:bodyPr numCol="1" spcCol="180000" anchor="t">
            <a:noAutofit/>
          </a:bodyPr>
          <a:lstStyle>
            <a:lvl1pPr marL="0" indent="0">
              <a:lnSpc>
                <a:spcPct val="100000"/>
              </a:lnSpc>
              <a:spcAft>
                <a:spcPts val="1800"/>
              </a:spcAft>
              <a:buClr>
                <a:schemeClr val="bg2"/>
              </a:buClr>
              <a:buFont typeface="Arial" panose="020B0604020202020204" pitchFamily="34" charset="0"/>
              <a:buNone/>
              <a:defRPr sz="28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7D9C6B7-7323-827F-E01F-2EFDCE721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883349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1625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1625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441625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1544923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733177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3287807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452281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AA59D731-0D13-EB6C-7B10-1B59D3D8C5A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388626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4162031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4056745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0250E06-295E-B6E6-95C4-089EF7886C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1638B5E-8DB0-EAFF-0CF3-8812AF05A9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49392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248EBF9A-10A9-92FA-05B2-3A952388340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2846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D2E71522-4C4D-EAC4-2A71-F45B1F18D56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1369692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944100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2" name="Title Placeholder 1">
            <a:extLst>
              <a:ext uri="{FF2B5EF4-FFF2-40B4-BE49-F238E27FC236}">
                <a16:creationId xmlns:a16="http://schemas.microsoft.com/office/drawing/2014/main" id="{14F0825D-90B8-6120-7F14-9DC0960BC9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AF40E274-F0AF-0436-1F33-86E04DCC0D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DB2C3DC3-9DBF-095B-1AEB-4513EE50C64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1566849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EBBD32EE-C0FF-E8CB-43E3-315A609AEFE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9E2EB64B-500A-8201-8F3F-287FDE60FB1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709BC01A-3AFB-CE31-0E4A-EE885FE2D5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CD03EE5B-6B86-7B77-E541-93CE051152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761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id="{F9CB884D-6999-7DC7-1825-FC60BEC935B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662940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0" name="Text Placeholder 6">
            <a:extLst>
              <a:ext uri="{FF2B5EF4-FFF2-40B4-BE49-F238E27FC236}">
                <a16:creationId xmlns:a16="http://schemas.microsoft.com/office/drawing/2014/main" id="{F03D69DA-4061-E20B-1262-8A9F09B92D2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90107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4DA3F266-6EB8-18CF-146E-FCE0EE2BCCE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64275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2" name="Text Placeholder 6">
            <a:extLst>
              <a:ext uri="{FF2B5EF4-FFF2-40B4-BE49-F238E27FC236}">
                <a16:creationId xmlns:a16="http://schemas.microsoft.com/office/drawing/2014/main" id="{ABAC94EC-4D3A-CEAC-3763-AE5EBA842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7618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3" name="Text Placeholder 6">
            <a:extLst>
              <a:ext uri="{FF2B5EF4-FFF2-40B4-BE49-F238E27FC236}">
                <a16:creationId xmlns:a16="http://schemas.microsoft.com/office/drawing/2014/main" id="{CB8F9A8E-E04A-1CA2-A320-7A4AE6F70D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62940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</p:spTree>
    <p:extLst>
      <p:ext uri="{BB962C8B-B14F-4D97-AF65-F5344CB8AC3E}">
        <p14:creationId xmlns:p14="http://schemas.microsoft.com/office/powerpoint/2010/main" val="10859839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45069581"/>
              </p:ext>
            </p:extLst>
          </p:nvPr>
        </p:nvGraphicFramePr>
        <p:xfrm>
          <a:off x="606585" y="2278196"/>
          <a:ext cx="11007608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19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36105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5F501377-4DE1-C96B-B5CB-4675C424B7F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00140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71120A03-3A4D-1301-C17A-86C4C160588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84842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033323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95489908"/>
              </p:ext>
            </p:extLst>
          </p:nvPr>
        </p:nvGraphicFramePr>
        <p:xfrm>
          <a:off x="606585" y="2265316"/>
          <a:ext cx="11007610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152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6"/>
            <a:ext cx="11042014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2892295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2217229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89882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67720"/>
            <a:ext cx="2193481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06338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2428D8F-1413-2F6F-66F0-EA64E72C6F19}"/>
              </a:ext>
            </a:extLst>
          </p:cNvPr>
          <p:cNvSpPr>
            <a:spLocks noChangeAspect="1"/>
          </p:cNvSpPr>
          <p:nvPr userDrawn="1"/>
        </p:nvSpPr>
        <p:spPr>
          <a:xfrm>
            <a:off x="51086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71">
            <a:extLst>
              <a:ext uri="{FF2B5EF4-FFF2-40B4-BE49-F238E27FC236}">
                <a16:creationId xmlns:a16="http://schemas.microsoft.com/office/drawing/2014/main" id="{ED2B6425-619B-AFAF-1CF5-12D51DA095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06206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048595-A0EA-7BB4-A2D8-622DB0779CA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22662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31A4FAF-CCB7-1F56-BEE2-622CF1A54FAB}"/>
              </a:ext>
            </a:extLst>
          </p:cNvPr>
          <p:cNvSpPr>
            <a:spLocks noChangeAspect="1"/>
          </p:cNvSpPr>
          <p:nvPr userDrawn="1"/>
        </p:nvSpPr>
        <p:spPr>
          <a:xfrm>
            <a:off x="7304231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Placeholder 71">
            <a:extLst>
              <a:ext uri="{FF2B5EF4-FFF2-40B4-BE49-F238E27FC236}">
                <a16:creationId xmlns:a16="http://schemas.microsoft.com/office/drawing/2014/main" id="{AD33553F-FF2E-A084-58B1-CABD32043C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1818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E55650A2-C067-405B-1B74-AC970B406C5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218274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65D2802-7493-9694-05E4-80CC2EF9B231}"/>
              </a:ext>
            </a:extLst>
          </p:cNvPr>
          <p:cNvSpPr>
            <a:spLocks noChangeAspect="1"/>
          </p:cNvSpPr>
          <p:nvPr userDrawn="1"/>
        </p:nvSpPr>
        <p:spPr>
          <a:xfrm>
            <a:off x="951255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71">
            <a:extLst>
              <a:ext uri="{FF2B5EF4-FFF2-40B4-BE49-F238E27FC236}">
                <a16:creationId xmlns:a16="http://schemas.microsoft.com/office/drawing/2014/main" id="{71110D7A-CD1D-2C97-57A0-9A17C8D313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10141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E1F3181-D3F3-3AA6-E3A7-A60D86BCE4F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426597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050064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20648469"/>
              </p:ext>
            </p:extLst>
          </p:nvPr>
        </p:nvGraphicFramePr>
        <p:xfrm>
          <a:off x="577178" y="2265316"/>
          <a:ext cx="11007612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46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168740535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5"/>
            <a:ext cx="11006985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7178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78D6D93-FD32-F6AE-2A57-61C348C02B3E}"/>
              </a:ext>
            </a:extLst>
          </p:cNvPr>
          <p:cNvSpPr>
            <a:spLocks noChangeAspect="1"/>
          </p:cNvSpPr>
          <p:nvPr userDrawn="1"/>
        </p:nvSpPr>
        <p:spPr>
          <a:xfrm>
            <a:off x="25150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 Placeholder 71">
            <a:extLst>
              <a:ext uri="{FF2B5EF4-FFF2-40B4-BE49-F238E27FC236}">
                <a16:creationId xmlns:a16="http://schemas.microsoft.com/office/drawing/2014/main" id="{21AE5853-8A99-8A93-1D01-2F7FCE23E3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1117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1AA430BA-739B-1F40-97FF-53B14467EF8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41118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C0E5BE5-8378-48E2-C8D1-F22E49536780}"/>
              </a:ext>
            </a:extLst>
          </p:cNvPr>
          <p:cNvSpPr>
            <a:spLocks noChangeAspect="1"/>
          </p:cNvSpPr>
          <p:nvPr userDrawn="1"/>
        </p:nvSpPr>
        <p:spPr>
          <a:xfrm>
            <a:off x="4364033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 Placeholder 71">
            <a:extLst>
              <a:ext uri="{FF2B5EF4-FFF2-40B4-BE49-F238E27FC236}">
                <a16:creationId xmlns:a16="http://schemas.microsoft.com/office/drawing/2014/main" id="{DDCEF4C9-0B45-4A5E-2D03-31D3672575C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0193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B994265A-DDDF-4B03-8D82-FB42EFBCBC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60194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0F31CF81-312F-837D-5714-92C7014354C5}"/>
              </a:ext>
            </a:extLst>
          </p:cNvPr>
          <p:cNvSpPr>
            <a:spLocks noChangeAspect="1"/>
          </p:cNvSpPr>
          <p:nvPr userDrawn="1"/>
        </p:nvSpPr>
        <p:spPr>
          <a:xfrm>
            <a:off x="619983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 Placeholder 71">
            <a:extLst>
              <a:ext uri="{FF2B5EF4-FFF2-40B4-BE49-F238E27FC236}">
                <a16:creationId xmlns:a16="http://schemas.microsoft.com/office/drawing/2014/main" id="{62AEAA69-3020-A0FF-5608-7AFD7A5D29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599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79626162-0EE9-3BA8-0CDF-67028FE32F1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09600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D4AB8F32-B492-2CD9-826C-E5C5378592C9}"/>
              </a:ext>
            </a:extLst>
          </p:cNvPr>
          <p:cNvSpPr>
            <a:spLocks noChangeAspect="1"/>
          </p:cNvSpPr>
          <p:nvPr userDrawn="1"/>
        </p:nvSpPr>
        <p:spPr>
          <a:xfrm>
            <a:off x="803564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3F1D7A91-7111-6E5C-279C-1B1D9695082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31804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0E2562B9-545B-AF00-D9F9-44E167A11B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931805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A45C6367-A74F-1C2C-672E-F2E6078D3C68}"/>
              </a:ext>
            </a:extLst>
          </p:cNvPr>
          <p:cNvSpPr>
            <a:spLocks noChangeAspect="1"/>
          </p:cNvSpPr>
          <p:nvPr userDrawn="1"/>
        </p:nvSpPr>
        <p:spPr>
          <a:xfrm>
            <a:off x="9847196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5865903F-F98B-94C0-7563-3A297E41DA2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43356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CAB912CE-814A-19EE-2402-D55C72FA588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743357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16937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5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B27288C-7259-9C4C-AE4F-E7A2FDA0B2B2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864648D-453B-ED4C-8BB1-586D325E3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65DBAFD-23F0-1A0E-5FDF-8321772FC36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2264571 w 6096001"/>
              <a:gd name="connsiteY0" fmla="*/ 1883188 h 6858000"/>
              <a:gd name="connsiteX1" fmla="*/ 2167943 w 6096001"/>
              <a:gd name="connsiteY1" fmla="*/ 3625805 h 6858000"/>
              <a:gd name="connsiteX2" fmla="*/ 2578239 w 6096001"/>
              <a:gd name="connsiteY2" fmla="*/ 3754069 h 6858000"/>
              <a:gd name="connsiteX3" fmla="*/ 3056918 w 6096001"/>
              <a:gd name="connsiteY3" fmla="*/ 3625805 h 6858000"/>
              <a:gd name="connsiteX4" fmla="*/ 3638171 w 6096001"/>
              <a:gd name="connsiteY4" fmla="*/ 4124117 h 6858000"/>
              <a:gd name="connsiteX5" fmla="*/ 3047999 w 6096001"/>
              <a:gd name="connsiteY5" fmla="*/ 4644543 h 6858000"/>
              <a:gd name="connsiteX6" fmla="*/ 2222946 w 6096001"/>
              <a:gd name="connsiteY6" fmla="*/ 4342313 h 6858000"/>
              <a:gd name="connsiteX7" fmla="*/ 1933063 w 6096001"/>
              <a:gd name="connsiteY7" fmla="*/ 4822933 h 6858000"/>
              <a:gd name="connsiteX8" fmla="*/ 3058405 w 6096001"/>
              <a:gd name="connsiteY8" fmla="*/ 5175290 h 6858000"/>
              <a:gd name="connsiteX9" fmla="*/ 4229830 w 6096001"/>
              <a:gd name="connsiteY9" fmla="*/ 4110849 h 6858000"/>
              <a:gd name="connsiteX10" fmla="*/ 3178818 w 6096001"/>
              <a:gd name="connsiteY10" fmla="*/ 3114225 h 6858000"/>
              <a:gd name="connsiteX11" fmla="*/ 2689733 w 6096001"/>
              <a:gd name="connsiteY11" fmla="*/ 3214477 h 6858000"/>
              <a:gd name="connsiteX12" fmla="*/ 2744736 w 6096001"/>
              <a:gd name="connsiteY12" fmla="*/ 2409511 h 6858000"/>
              <a:gd name="connsiteX13" fmla="*/ 4026169 w 6096001"/>
              <a:gd name="connsiteY13" fmla="*/ 2409511 h 6858000"/>
              <a:gd name="connsiteX14" fmla="*/ 4026169 w 6096001"/>
              <a:gd name="connsiteY14" fmla="*/ 1883188 h 6858000"/>
              <a:gd name="connsiteX15" fmla="*/ 0 w 6096001"/>
              <a:gd name="connsiteY15" fmla="*/ 0 h 6858000"/>
              <a:gd name="connsiteX16" fmla="*/ 5214397 w 6096001"/>
              <a:gd name="connsiteY16" fmla="*/ 0 h 6858000"/>
              <a:gd name="connsiteX17" fmla="*/ 6096001 w 6096001"/>
              <a:gd name="connsiteY17" fmla="*/ 881604 h 6858000"/>
              <a:gd name="connsiteX18" fmla="*/ 6096001 w 6096001"/>
              <a:gd name="connsiteY18" fmla="*/ 6858000 h 6858000"/>
              <a:gd name="connsiteX19" fmla="*/ 0 w 6096001"/>
              <a:gd name="connsiteY1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096001" h="6858000">
                <a:moveTo>
                  <a:pt x="2264571" y="1883188"/>
                </a:moveTo>
                <a:lnTo>
                  <a:pt x="2167943" y="3625805"/>
                </a:lnTo>
                <a:lnTo>
                  <a:pt x="2578239" y="3754069"/>
                </a:lnTo>
                <a:cubicBezTo>
                  <a:pt x="2706085" y="3671508"/>
                  <a:pt x="2863663" y="3625805"/>
                  <a:pt x="3056918" y="3625805"/>
                </a:cubicBezTo>
                <a:cubicBezTo>
                  <a:pt x="3412211" y="3625805"/>
                  <a:pt x="3638171" y="3814515"/>
                  <a:pt x="3638171" y="4124117"/>
                </a:cubicBezTo>
                <a:cubicBezTo>
                  <a:pt x="3638171" y="4433719"/>
                  <a:pt x="3412211" y="4644543"/>
                  <a:pt x="3047999" y="4644543"/>
                </a:cubicBezTo>
                <a:cubicBezTo>
                  <a:pt x="2720951" y="4644543"/>
                  <a:pt x="2435527" y="4511857"/>
                  <a:pt x="2222946" y="4342313"/>
                </a:cubicBezTo>
                <a:lnTo>
                  <a:pt x="1933063" y="4822933"/>
                </a:lnTo>
                <a:cubicBezTo>
                  <a:pt x="2173889" y="5024912"/>
                  <a:pt x="2542561" y="5175290"/>
                  <a:pt x="3058405" y="5175290"/>
                </a:cubicBezTo>
                <a:cubicBezTo>
                  <a:pt x="3755611" y="5175290"/>
                  <a:pt x="4229830" y="4728578"/>
                  <a:pt x="4229830" y="4110849"/>
                </a:cubicBezTo>
                <a:cubicBezTo>
                  <a:pt x="4229830" y="3493119"/>
                  <a:pt x="3801695" y="3114225"/>
                  <a:pt x="3178818" y="3114225"/>
                </a:cubicBezTo>
                <a:cubicBezTo>
                  <a:pt x="3007861" y="3114225"/>
                  <a:pt x="2810146" y="3155505"/>
                  <a:pt x="2689733" y="3214477"/>
                </a:cubicBezTo>
                <a:lnTo>
                  <a:pt x="2744736" y="2409511"/>
                </a:lnTo>
                <a:lnTo>
                  <a:pt x="4026169" y="2409511"/>
                </a:lnTo>
                <a:lnTo>
                  <a:pt x="4026169" y="1883188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Placeholder 29">
            <a:extLst>
              <a:ext uri="{FF2B5EF4-FFF2-40B4-BE49-F238E27FC236}">
                <a16:creationId xmlns:a16="http://schemas.microsoft.com/office/drawing/2014/main" id="{40CB19B9-B076-F72F-4871-28E7733860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A7A9F534-6D07-AD6C-9EA8-9F5BCBDDD1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130455295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ual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803BAA2C-9254-B18D-A058-251E52C66E8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06880639"/>
              </p:ext>
            </p:extLst>
          </p:nvPr>
        </p:nvGraphicFramePr>
        <p:xfrm>
          <a:off x="606585" y="2278196"/>
          <a:ext cx="11007612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917301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27914870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86396939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4286243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49616785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93639814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25181152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982123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74312375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031F97C-D610-4D45-F78B-D175D9A0E75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5839" y="2583275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FF72A2C-EC93-1960-E000-9D1BE3C473D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374" y="2588233"/>
            <a:ext cx="2451893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B3311CB-DC37-BF2B-8E33-872990686A6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0770" y="3112528"/>
            <a:ext cx="2477398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C6A5BFA-3D10-182C-1A20-2F9F25DA5EC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374" y="3112528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3D306BC-6AA0-5B15-EAD0-1C4B6C007AE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374" y="3636823"/>
            <a:ext cx="10779794" cy="38056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279148-11D1-D193-7504-E15A8DBBB7ED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773" y="4161117"/>
            <a:ext cx="9537643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7F7FC01-6091-5D90-D333-FA5671F43B8E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2654" y="4685411"/>
            <a:ext cx="3986410" cy="380567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022672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645879FE-583A-DE44-88BA-EB276A69E0F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592778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29D7B8B-35CA-A145-A474-98CA941C891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515938" y="2081213"/>
            <a:ext cx="11153775" cy="383222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58677968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1304925"/>
            <a:ext cx="11160125" cy="4608513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350917621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+ Intr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2186941"/>
            <a:ext cx="11160125" cy="372649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0B67ED7-707C-628A-DD8C-8D05275A882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31133" y="1304924"/>
            <a:ext cx="11144930" cy="760095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941223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234541797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 + Key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2951067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12" name="Table Placeholder 13">
            <a:extLst>
              <a:ext uri="{FF2B5EF4-FFF2-40B4-BE49-F238E27FC236}">
                <a16:creationId xmlns:a16="http://schemas.microsoft.com/office/drawing/2014/main" id="{0471F0B8-12A0-7A45-8C7A-E02063FE5C87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531813" y="4531663"/>
            <a:ext cx="5564187" cy="138177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here to insert table of key statistics</a:t>
            </a:r>
          </a:p>
        </p:txBody>
      </p:sp>
    </p:spTree>
    <p:extLst>
      <p:ext uri="{BB962C8B-B14F-4D97-AF65-F5344CB8AC3E}">
        <p14:creationId xmlns:p14="http://schemas.microsoft.com/office/powerpoint/2010/main" val="375861235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F7144900-27CB-F8C8-8750-EBFD50556D3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7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371966-686F-3873-1B61-8D4F2F1781A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409056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1BA048F-6972-4609-34F2-EF8FDBBDBB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4278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224FF60B-6BD0-9B1E-2959-11D6263640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7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2DB6CCCB-718D-70C8-7A09-2EE0D714452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409056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6878B28-F503-455B-0FEA-80DE709054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4278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AAADD6C4-F1D9-F92B-C5FD-4B4DA8B17CF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33196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A5E09E69-6CAD-B355-9823-320AB8FAE6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333196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17601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8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9411" y="1711994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25EC710C-2932-CFFF-F55D-955597F0FB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35796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247CB122-DF3E-CDA7-027B-26E525434AE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527232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27971BF0-784D-F3CF-2C6F-CA518054204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20024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0B2CA69D-267F-C90D-4248-B4C35F26DF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11460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Picture Placeholder 9">
            <a:extLst>
              <a:ext uri="{FF2B5EF4-FFF2-40B4-BE49-F238E27FC236}">
                <a16:creationId xmlns:a16="http://schemas.microsoft.com/office/drawing/2014/main" id="{5897A2C1-9865-7BB8-2197-358370EFD4A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8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62920B1E-EBA9-626D-6305-A1ADAE904D1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699411" y="3155667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4" name="Picture Placeholder 9">
            <a:extLst>
              <a:ext uri="{FF2B5EF4-FFF2-40B4-BE49-F238E27FC236}">
                <a16:creationId xmlns:a16="http://schemas.microsoft.com/office/drawing/2014/main" id="{544F1E77-8814-8A3B-D86A-076D4023AC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35796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C7619CC2-0DAA-26FC-AEAA-30394D48883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27232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Picture Placeholder 9">
            <a:extLst>
              <a:ext uri="{FF2B5EF4-FFF2-40B4-BE49-F238E27FC236}">
                <a16:creationId xmlns:a16="http://schemas.microsoft.com/office/drawing/2014/main" id="{8FAFCD1B-5A84-929A-D622-CC609C41B00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220024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32DEC219-4AAE-290C-5636-F2670570011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11460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8" name="Picture Placeholder 9">
            <a:extLst>
              <a:ext uri="{FF2B5EF4-FFF2-40B4-BE49-F238E27FC236}">
                <a16:creationId xmlns:a16="http://schemas.microsoft.com/office/drawing/2014/main" id="{B2CF404E-74E2-7F8B-678B-6E7F764D9B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15938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494146F5-9D36-2EF7-388E-A72B6DA0D9B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99411" y="4599456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9">
            <a:extLst>
              <a:ext uri="{FF2B5EF4-FFF2-40B4-BE49-F238E27FC236}">
                <a16:creationId xmlns:a16="http://schemas.microsoft.com/office/drawing/2014/main" id="{B71BEAAD-C8C5-6988-5CBE-F7E30241059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335796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138E6919-019E-02BB-5D0D-FF9C121424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27232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Picture Placeholder 9">
            <a:extLst>
              <a:ext uri="{FF2B5EF4-FFF2-40B4-BE49-F238E27FC236}">
                <a16:creationId xmlns:a16="http://schemas.microsoft.com/office/drawing/2014/main" id="{50AEE6D7-E551-8465-B986-00D61EB9730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220024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EABA07AD-B083-3DC8-2E9C-6607785D0D9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11460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133872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9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96367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Picture Placeholder 9">
            <a:extLst>
              <a:ext uri="{FF2B5EF4-FFF2-40B4-BE49-F238E27FC236}">
                <a16:creationId xmlns:a16="http://schemas.microsoft.com/office/drawing/2014/main" id="{0A36E1BF-5D7A-3667-C65B-2DB32E2BD38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15939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4" name="Text Placeholder 15">
            <a:extLst>
              <a:ext uri="{FF2B5EF4-FFF2-40B4-BE49-F238E27FC236}">
                <a16:creationId xmlns:a16="http://schemas.microsoft.com/office/drawing/2014/main" id="{A3EF6248-9648-B0CE-3E04-C8F8A63036E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96367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Picture Placeholder 9">
            <a:extLst>
              <a:ext uri="{FF2B5EF4-FFF2-40B4-BE49-F238E27FC236}">
                <a16:creationId xmlns:a16="http://schemas.microsoft.com/office/drawing/2014/main" id="{C5444EBA-19D0-8678-BDDD-147CE44BC1E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15939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7D5C4711-97F4-DDD0-D960-DEDF44E5F47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596367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7" name="Picture Placeholder 9">
            <a:extLst>
              <a:ext uri="{FF2B5EF4-FFF2-40B4-BE49-F238E27FC236}">
                <a16:creationId xmlns:a16="http://schemas.microsoft.com/office/drawing/2014/main" id="{E65DD9AF-BC5A-0D6D-203A-19C299826DF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15939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50F33994-9EA1-2A51-A537-50F4FB57B23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596367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9" name="Picture Placeholder 9">
            <a:extLst>
              <a:ext uri="{FF2B5EF4-FFF2-40B4-BE49-F238E27FC236}">
                <a16:creationId xmlns:a16="http://schemas.microsoft.com/office/drawing/2014/main" id="{F4BC789A-02DE-1B25-C17D-56031BFFAC7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357530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0" name="Text Placeholder 15">
            <a:extLst>
              <a:ext uri="{FF2B5EF4-FFF2-40B4-BE49-F238E27FC236}">
                <a16:creationId xmlns:a16="http://schemas.microsoft.com/office/drawing/2014/main" id="{397D8B8C-1AD2-D2A1-C4BA-DC06F2B6EF6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437958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1" name="Picture Placeholder 9">
            <a:extLst>
              <a:ext uri="{FF2B5EF4-FFF2-40B4-BE49-F238E27FC236}">
                <a16:creationId xmlns:a16="http://schemas.microsoft.com/office/drawing/2014/main" id="{96F24F90-0E84-D6E6-53DE-5CA754BCC22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357530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FEE53D37-03B9-FEA3-D9B3-377C5ACE8FB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437958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3" name="Picture Placeholder 9">
            <a:extLst>
              <a:ext uri="{FF2B5EF4-FFF2-40B4-BE49-F238E27FC236}">
                <a16:creationId xmlns:a16="http://schemas.microsoft.com/office/drawing/2014/main" id="{D91880C0-5866-3A2D-E9A1-293A080C3CBC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357530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68479F4A-C40B-C6DF-03E8-C507FF3D45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5437958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Picture Placeholder 9">
            <a:extLst>
              <a:ext uri="{FF2B5EF4-FFF2-40B4-BE49-F238E27FC236}">
                <a16:creationId xmlns:a16="http://schemas.microsoft.com/office/drawing/2014/main" id="{C62DBBD6-D33E-DF74-5AE8-96D1913C8C20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4357530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05529239-A4B5-258D-03F5-01D3ADFE887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5437958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Picture Placeholder 9">
            <a:extLst>
              <a:ext uri="{FF2B5EF4-FFF2-40B4-BE49-F238E27FC236}">
                <a16:creationId xmlns:a16="http://schemas.microsoft.com/office/drawing/2014/main" id="{114AD459-859C-6C0F-FB75-4B02606E57BB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99122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8" name="Text Placeholder 15">
            <a:extLst>
              <a:ext uri="{FF2B5EF4-FFF2-40B4-BE49-F238E27FC236}">
                <a16:creationId xmlns:a16="http://schemas.microsoft.com/office/drawing/2014/main" id="{4EAF0426-CCDA-221A-38EC-BBD417EBF569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279550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Picture Placeholder 9">
            <a:extLst>
              <a:ext uri="{FF2B5EF4-FFF2-40B4-BE49-F238E27FC236}">
                <a16:creationId xmlns:a16="http://schemas.microsoft.com/office/drawing/2014/main" id="{EF2E7661-7F3A-851E-C60B-815DA8CE2A1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8199122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id="{8748A2D7-29EB-EEF8-E6A5-383DA278969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279550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1" name="Picture Placeholder 9">
            <a:extLst>
              <a:ext uri="{FF2B5EF4-FFF2-40B4-BE49-F238E27FC236}">
                <a16:creationId xmlns:a16="http://schemas.microsoft.com/office/drawing/2014/main" id="{E88761E4-7653-636A-0723-500AE4782BC6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8199122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id="{B10E2844-BD47-9C07-357D-9EA651BBCA67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279550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3" name="Picture Placeholder 9">
            <a:extLst>
              <a:ext uri="{FF2B5EF4-FFF2-40B4-BE49-F238E27FC236}">
                <a16:creationId xmlns:a16="http://schemas.microsoft.com/office/drawing/2014/main" id="{310F2473-00CD-C33D-50C3-3F40271F3927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199122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4" name="Text Placeholder 15">
            <a:extLst>
              <a:ext uri="{FF2B5EF4-FFF2-40B4-BE49-F238E27FC236}">
                <a16:creationId xmlns:a16="http://schemas.microsoft.com/office/drawing/2014/main" id="{789611C4-8E98-E2CF-35EB-922860C66E00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9279550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1529005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>
            <a:normAutofit/>
          </a:bodyPr>
          <a:lstStyle>
            <a:lvl1pPr marL="457200" indent="-457200">
              <a:spcBef>
                <a:spcPts val="18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312270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6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B27288C-7259-9C4C-AE4F-E7A2FDA0B2B2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864648D-453B-ED4C-8BB1-586D325E3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3F971249-5979-2368-F1C4-62CA7A3E8D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1" cy="6858000"/>
          </a:xfrm>
          <a:custGeom>
            <a:avLst/>
            <a:gdLst>
              <a:gd name="connsiteX0" fmla="*/ 3077268 w 6096001"/>
              <a:gd name="connsiteY0" fmla="*/ 3517274 h 6858000"/>
              <a:gd name="connsiteX1" fmla="*/ 3608256 w 6096001"/>
              <a:gd name="connsiteY1" fmla="*/ 4024085 h 6858000"/>
              <a:gd name="connsiteX2" fmla="*/ 3609649 w 6096001"/>
              <a:gd name="connsiteY2" fmla="*/ 4025458 h 6858000"/>
              <a:gd name="connsiteX3" fmla="*/ 3064725 w 6096001"/>
              <a:gd name="connsiteY3" fmla="*/ 4548751 h 6858000"/>
              <a:gd name="connsiteX4" fmla="*/ 2503076 w 6096001"/>
              <a:gd name="connsiteY4" fmla="*/ 3973266 h 6858000"/>
              <a:gd name="connsiteX5" fmla="*/ 3077268 w 6096001"/>
              <a:gd name="connsiteY5" fmla="*/ 3517274 h 6858000"/>
              <a:gd name="connsiteX6" fmla="*/ 3834030 w 6096001"/>
              <a:gd name="connsiteY6" fmla="*/ 1925421 h 6858000"/>
              <a:gd name="connsiteX7" fmla="*/ 1945608 w 6096001"/>
              <a:gd name="connsiteY7" fmla="*/ 3731535 h 6858000"/>
              <a:gd name="connsiteX8" fmla="*/ 3085630 w 6096001"/>
              <a:gd name="connsiteY8" fmla="*/ 5025345 h 6858000"/>
              <a:gd name="connsiteX9" fmla="*/ 4148999 w 6096001"/>
              <a:gd name="connsiteY9" fmla="*/ 4015844 h 6858000"/>
              <a:gd name="connsiteX10" fmla="*/ 4150393 w 6096001"/>
              <a:gd name="connsiteY10" fmla="*/ 4015844 h 6858000"/>
              <a:gd name="connsiteX11" fmla="*/ 3195730 w 6096001"/>
              <a:gd name="connsiteY11" fmla="*/ 3083257 h 6858000"/>
              <a:gd name="connsiteX12" fmla="*/ 2525374 w 6096001"/>
              <a:gd name="connsiteY12" fmla="*/ 3338723 h 6858000"/>
              <a:gd name="connsiteX13" fmla="*/ 3946917 w 6096001"/>
              <a:gd name="connsiteY13" fmla="*/ 2402015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077268" y="3517274"/>
                </a:moveTo>
                <a:cubicBezTo>
                  <a:pt x="3396418" y="3517274"/>
                  <a:pt x="3608256" y="3704066"/>
                  <a:pt x="3608256" y="4024085"/>
                </a:cubicBezTo>
                <a:lnTo>
                  <a:pt x="3609649" y="4025458"/>
                </a:lnTo>
                <a:cubicBezTo>
                  <a:pt x="3609649" y="4352344"/>
                  <a:pt x="3379694" y="4548751"/>
                  <a:pt x="3064725" y="4548751"/>
                </a:cubicBezTo>
                <a:cubicBezTo>
                  <a:pt x="2727457" y="4548751"/>
                  <a:pt x="2503076" y="4293285"/>
                  <a:pt x="2503076" y="3973266"/>
                </a:cubicBezTo>
                <a:cubicBezTo>
                  <a:pt x="2503076" y="3691705"/>
                  <a:pt x="2779022" y="3517274"/>
                  <a:pt x="3077268" y="3517274"/>
                </a:cubicBezTo>
                <a:close/>
                <a:moveTo>
                  <a:pt x="3834030" y="1925421"/>
                </a:moveTo>
                <a:cubicBezTo>
                  <a:pt x="2503076" y="1967999"/>
                  <a:pt x="1945608" y="2776973"/>
                  <a:pt x="1945608" y="3731535"/>
                </a:cubicBezTo>
                <a:cubicBezTo>
                  <a:pt x="1945608" y="4574847"/>
                  <a:pt x="2416668" y="5025345"/>
                  <a:pt x="3085630" y="5025345"/>
                </a:cubicBezTo>
                <a:cubicBezTo>
                  <a:pt x="3700238" y="5025345"/>
                  <a:pt x="4148999" y="4616051"/>
                  <a:pt x="4148999" y="4015844"/>
                </a:cubicBezTo>
                <a:lnTo>
                  <a:pt x="4150393" y="4015844"/>
                </a:lnTo>
                <a:cubicBezTo>
                  <a:pt x="4150393" y="3432119"/>
                  <a:pt x="3730899" y="3083257"/>
                  <a:pt x="3195730" y="3083257"/>
                </a:cubicBezTo>
                <a:cubicBezTo>
                  <a:pt x="2897484" y="3083257"/>
                  <a:pt x="2654986" y="3210990"/>
                  <a:pt x="2525374" y="3338723"/>
                </a:cubicBezTo>
                <a:cubicBezTo>
                  <a:pt x="2710732" y="2700059"/>
                  <a:pt x="3160888" y="2436352"/>
                  <a:pt x="3946917" y="2402015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Placeholder 29">
            <a:extLst>
              <a:ext uri="{FF2B5EF4-FFF2-40B4-BE49-F238E27FC236}">
                <a16:creationId xmlns:a16="http://schemas.microsoft.com/office/drawing/2014/main" id="{90F01191-6B5C-8711-84AB-0C200ABE5B8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CC808A73-1645-699E-2C12-C2D15CC520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382825084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6275323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6275323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5376371" cy="4204608"/>
          </a:xfrm>
        </p:spPr>
        <p:txBody>
          <a:bodyPr numCol="1" spcCol="360000">
            <a:normAutofit/>
          </a:bodyPr>
          <a:lstStyle>
            <a:lvl1pPr marL="457200" indent="-4572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1F8B0E5-465B-1592-BFB3-5F01C3B0E69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132637" y="1708830"/>
            <a:ext cx="664405" cy="4204608"/>
          </a:xfrm>
        </p:spPr>
        <p:txBody>
          <a:bodyPr numCol="1" spcCol="360000">
            <a:normAutofit/>
          </a:bodyPr>
          <a:lstStyle>
            <a:lvl1pPr marL="0" indent="0" algn="r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None/>
              <a:defRPr sz="2400" b="0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X</a:t>
            </a:r>
          </a:p>
          <a:p>
            <a:pPr lvl="0"/>
            <a:endParaRPr lang="en-GB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EA8C7E29-42A4-2542-6547-ACCD8C92B2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368539" y="366371"/>
            <a:ext cx="4307523" cy="5530549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1272547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033705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356668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558849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Dark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53711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Sta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290FAF2-2869-2B9B-5880-4EE57045BC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828" y="1249683"/>
            <a:ext cx="11208352" cy="269081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r>
              <a:rPr lang="en-GB"/>
              <a:t>XXXXXX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0F9BA01A-4636-2441-F8D0-2E265BF7D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751308-8682-E296-A343-1719555B3C95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1AFB23D-B299-93C8-2304-575B5ED93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GB"/>
              <a:t>Vaccination Strategies Deck_VIS2024</a:t>
            </a:r>
          </a:p>
        </p:txBody>
      </p:sp>
      <p:pic>
        <p:nvPicPr>
          <p:cNvPr id="15" name="Picture 11">
            <a:extLst>
              <a:ext uri="{FF2B5EF4-FFF2-40B4-BE49-F238E27FC236}">
                <a16:creationId xmlns:a16="http://schemas.microsoft.com/office/drawing/2014/main" id="{A4BBC3E9-F3A2-C188-5A3A-9D714331C8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AB32E5-85C1-B8E6-505F-2580C9B2E9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6" y="4053840"/>
            <a:ext cx="6364924" cy="1668779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72490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52467373-D57C-F842-8976-B87DEFBE83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719" y="2936557"/>
            <a:ext cx="11154344" cy="984885"/>
          </a:xfrm>
        </p:spPr>
        <p:txBody>
          <a:bodyPr anchor="ctr">
            <a:spAutoFit/>
          </a:bodyPr>
          <a:lstStyle>
            <a:lvl1pPr>
              <a:lnSpc>
                <a:spcPct val="80000"/>
              </a:lnSpc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2087560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+ Imag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106" y="2169758"/>
            <a:ext cx="4692628" cy="2518484"/>
          </a:xfrm>
        </p:spPr>
        <p:txBody>
          <a:bodyPr anchor="ctr">
            <a:noAutofit/>
          </a:bodyPr>
          <a:lstStyle>
            <a:lvl1pPr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6C7CBD7-5355-7F4D-BEF2-28CEADC3C9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B4768C2A-8E3C-DC4A-8FF7-DCBDDC643F7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prstGeom prst="round1Rect">
            <a:avLst>
              <a:gd name="adj" fmla="val 14462"/>
            </a:avLst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99436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Imag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4">
            <a:extLst>
              <a:ext uri="{FF2B5EF4-FFF2-40B4-BE49-F238E27FC236}">
                <a16:creationId xmlns:a16="http://schemas.microsoft.com/office/drawing/2014/main" id="{86A756F5-203A-4C4F-9479-348B2905A66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501514" y="0"/>
            <a:ext cx="6690486" cy="6858000"/>
          </a:xfrm>
          <a:custGeom>
            <a:avLst/>
            <a:gdLst>
              <a:gd name="connsiteX0" fmla="*/ 0 w 7942912"/>
              <a:gd name="connsiteY0" fmla="*/ 0 h 6858000"/>
              <a:gd name="connsiteX1" fmla="*/ 7942912 w 7942912"/>
              <a:gd name="connsiteY1" fmla="*/ 0 h 6858000"/>
              <a:gd name="connsiteX2" fmla="*/ 7942912 w 7942912"/>
              <a:gd name="connsiteY2" fmla="*/ 6858000 h 6858000"/>
              <a:gd name="connsiteX3" fmla="*/ 704040 w 7942912"/>
              <a:gd name="connsiteY3" fmla="*/ 6858000 h 6858000"/>
              <a:gd name="connsiteX4" fmla="*/ 704040 w 7942912"/>
              <a:gd name="connsiteY4" fmla="*/ 704067 h 6858000"/>
              <a:gd name="connsiteX5" fmla="*/ 141865 w 7942912"/>
              <a:gd name="connsiteY5" fmla="*/ 143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42912" h="6858000">
                <a:moveTo>
                  <a:pt x="0" y="0"/>
                </a:moveTo>
                <a:lnTo>
                  <a:pt x="7942912" y="0"/>
                </a:lnTo>
                <a:lnTo>
                  <a:pt x="7942912" y="6858000"/>
                </a:lnTo>
                <a:lnTo>
                  <a:pt x="704040" y="6858000"/>
                </a:lnTo>
                <a:lnTo>
                  <a:pt x="704040" y="704067"/>
                </a:lnTo>
                <a:cubicBezTo>
                  <a:pt x="704040" y="363826"/>
                  <a:pt x="462698" y="79953"/>
                  <a:pt x="141865" y="1430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4F144B-74C7-A148-8E87-6034061E0C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9" y="1700213"/>
            <a:ext cx="4692628" cy="234609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2309427"/>
            <a:ext cx="4692628" cy="251848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878A746-9E85-F24C-AD58-8F45F83396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9" y="5721999"/>
            <a:ext cx="4692628" cy="187359"/>
          </a:xfrm>
        </p:spPr>
        <p:txBody>
          <a:bodyPr anchor="b">
            <a:spAutoFit/>
          </a:bodyPr>
          <a:lstStyle>
            <a:lvl1pPr>
              <a:defRPr sz="1200"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AFD6BA4-8A31-2C45-81C0-67141C06959C}"/>
              </a:ext>
            </a:extLst>
          </p:cNvPr>
          <p:cNvSpPr txBox="1">
            <a:spLocks/>
          </p:cNvSpPr>
          <p:nvPr userDrawn="1"/>
        </p:nvSpPr>
        <p:spPr>
          <a:xfrm>
            <a:off x="515938" y="6173816"/>
            <a:ext cx="1303626" cy="315884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800" b="1">
                <a:solidFill>
                  <a:schemeClr val="bg2"/>
                </a:solidFill>
              </a:rPr>
              <a:t>gavi.org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10119D7-2EC9-4840-AC33-164E710183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51263" y="443457"/>
            <a:ext cx="1324800" cy="48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369853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2323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1433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6925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7761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427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8669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4983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534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7E7DAA2-4D74-8F73-20DD-AB5A220C5D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7851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1E0345EA-841F-0CDC-4D3D-6F8A441AA78F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333045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64257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FBFCDEF-6E12-C006-44B4-B2738D0792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80334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3B5895DB-1292-CE69-F1CC-CA026DACAC13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395527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394A274-82C6-2D1C-8004-8E7FF7B76E2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69806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B32BCAEC-CD76-D152-C494-48F60F7BFD4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184999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20552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034B91B1-8758-0946-BB4D-13DA0D9CFAE1}"/>
              </a:ext>
            </a:extLst>
          </p:cNvPr>
          <p:cNvSpPr/>
          <p:nvPr userDrawn="1"/>
        </p:nvSpPr>
        <p:spPr>
          <a:xfrm>
            <a:off x="6241145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6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0C03D58-F9E4-0944-BD0B-946EEFB247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40376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80BF694F-37D7-D44B-8712-1767A33CD1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0376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1C6985EF-42F3-0D40-99CA-20F5F21446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0376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21521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(Text Only)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52467373-D57C-F842-8976-B87DEFBE8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4F144B-74C7-A148-8E87-6034061E0C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3185432"/>
            <a:ext cx="6966786" cy="234609"/>
          </a:xfrm>
        </p:spPr>
        <p:txBody>
          <a:bodyPr>
            <a:normAutofit/>
          </a:bodyPr>
          <a:lstStyle>
            <a:lvl1pPr>
              <a:defRPr sz="1600" spc="300"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66552"/>
            <a:ext cx="11154344" cy="192903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7" name="Picture 6" descr="Shape&#10;&#10;Description automatically generated">
            <a:extLst>
              <a:ext uri="{FF2B5EF4-FFF2-40B4-BE49-F238E27FC236}">
                <a16:creationId xmlns:a16="http://schemas.microsoft.com/office/drawing/2014/main" id="{D2830A3C-7ED1-2741-8ED4-600D60D8DBD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0" y="0"/>
            <a:ext cx="5103637" cy="2938921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962001-1C91-5E41-8B60-B760F9679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441777"/>
            <a:ext cx="2115580" cy="1331912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9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9081974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5" y="1191566"/>
            <a:ext cx="360465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321443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321443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321443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64DF4DD-379B-FE5B-85E1-F80F85D07E89}"/>
              </a:ext>
            </a:extLst>
          </p:cNvPr>
          <p:cNvSpPr/>
          <p:nvPr userDrawn="1"/>
        </p:nvSpPr>
        <p:spPr>
          <a:xfrm>
            <a:off x="4290784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602ADDF3-C22C-9F63-2736-9FAAEA9A1E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0015" y="1378325"/>
            <a:ext cx="3201361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EC84208B-5390-D845-9BFC-BBE060B525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90015" y="2154362"/>
            <a:ext cx="3201361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62DC5739-6579-EFF5-5EE5-B79F9F4E3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90015" y="1597378"/>
            <a:ext cx="3201361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A0FC7906-8744-F3F8-AA4F-08ADB6E6D43E}"/>
              </a:ext>
            </a:extLst>
          </p:cNvPr>
          <p:cNvSpPr/>
          <p:nvPr userDrawn="1"/>
        </p:nvSpPr>
        <p:spPr>
          <a:xfrm>
            <a:off x="8065632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F3AC3934-9579-D587-96AD-27B72F22B2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4863" y="1378325"/>
            <a:ext cx="3211970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7A42317-1A24-1AA6-D076-0E969CCF8BE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64863" y="2154362"/>
            <a:ext cx="3211970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ADCC5B80-D27A-2762-3E95-436EEE5A0D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64863" y="1597378"/>
            <a:ext cx="3211970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42310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326198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288082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319B0B18-4860-DA36-3440-4533856C913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BF99AA58-9FC0-03DF-8208-27BED5F44ED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58071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AD148B2F-B493-BFBF-8393-261886DA3EE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846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408634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87491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87491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87491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59044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59044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59044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30597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3059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3059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78285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026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026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894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94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3761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3761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3761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id="{8B57295D-E6CF-D31C-B144-FCA5CB14DF6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6629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AD0246CA-EA99-001F-02B9-8BA52DCE733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62940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3D355FF6-773D-9D18-B07A-AFAED992F8C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662940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172247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49400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49400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D3B567E7-3D24-6F43-A35A-BBC5B9C571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5938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3E388B6-7D3E-7F4E-89BF-34EFDCA27B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49400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881671EB-257B-ED4B-947C-F1B6F4FDC8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49400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2691027-CA0E-E24A-BE52-C681CD136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98773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C29C828-D0AF-8740-B636-DCE11FB0484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32235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58CECF4C-60E6-054F-A58B-39ED49ED6AD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32235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CD7BB1DF-4B0D-0046-AD00-F6E58908BDE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98773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DABD8D9-C71A-A446-8E62-82A359216E9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32235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0340EBB2-1491-9444-9D25-3567B2AAB22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532235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307426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3" name="Round Same-side Corner of Rectangle 22">
            <a:extLst>
              <a:ext uri="{FF2B5EF4-FFF2-40B4-BE49-F238E27FC236}">
                <a16:creationId xmlns:a16="http://schemas.microsoft.com/office/drawing/2014/main" id="{16D0EA1C-2C30-674C-9E0D-D3B85EFE8B44}"/>
              </a:ext>
            </a:extLst>
          </p:cNvPr>
          <p:cNvSpPr/>
          <p:nvPr userDrawn="1"/>
        </p:nvSpPr>
        <p:spPr>
          <a:xfrm rot="5400000" flipH="1">
            <a:off x="8698709" y="2420146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933F7F4-7E4A-AD4A-B080-3883C01BCEA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955149" y="5013397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6DF01F6-3014-6E4B-AB71-62673ED726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955149" y="4663313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E49618F2-620F-A042-9095-E7C4C137E2E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957092" y="4846809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Round Same-side Corner of Rectangle 26">
            <a:extLst>
              <a:ext uri="{FF2B5EF4-FFF2-40B4-BE49-F238E27FC236}">
                <a16:creationId xmlns:a16="http://schemas.microsoft.com/office/drawing/2014/main" id="{CFB215F2-B96A-D14F-B549-E8D9FA660A0B}"/>
              </a:ext>
            </a:extLst>
          </p:cNvPr>
          <p:cNvSpPr/>
          <p:nvPr userDrawn="1"/>
        </p:nvSpPr>
        <p:spPr>
          <a:xfrm rot="5400000" flipH="1">
            <a:off x="8698709" y="791363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F2701821-5C13-4746-B598-28CE9EEFDFD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955149" y="3384614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C928579-FF9D-8E4F-912D-F44BF03ECF0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55149" y="3034530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617E54E-8C7A-E24B-A3E6-FFD19643023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957092" y="3218026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468DF2F5-0340-4C4E-8BAB-B68D68BDB1CC}"/>
              </a:ext>
            </a:extLst>
          </p:cNvPr>
          <p:cNvSpPr/>
          <p:nvPr userDrawn="1"/>
        </p:nvSpPr>
        <p:spPr>
          <a:xfrm rot="5400000" flipH="1">
            <a:off x="8698709" y="-837418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8297A7AF-4FD1-0044-A50C-5C0CE488521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55149" y="1755833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6C19D012-767E-A845-8105-4B4C4887921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55149" y="1405749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DD5DD0FD-09C0-E049-944D-E6046E4FD56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957092" y="1589245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4102237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5498C8CE-3879-2F54-526A-4FB3BC35A614}"/>
              </a:ext>
            </a:extLst>
          </p:cNvPr>
          <p:cNvGrpSpPr/>
          <p:nvPr userDrawn="1"/>
        </p:nvGrpSpPr>
        <p:grpSpPr>
          <a:xfrm>
            <a:off x="506981" y="2354656"/>
            <a:ext cx="11169081" cy="3558782"/>
            <a:chOff x="506982" y="1923728"/>
            <a:chExt cx="8410120" cy="2679700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FF8E22B8-C626-33CF-AF31-C216F15358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859702" y="1923728"/>
              <a:ext cx="2057400" cy="2679700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51CC370D-D55C-CF1D-A84D-FC3FD269EF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33662" y="1923728"/>
              <a:ext cx="2209800" cy="26797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0CF38F8D-CE10-398F-DC92-0410984D5C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607622" y="1923728"/>
              <a:ext cx="2209800" cy="2679700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71C8FE21-D454-2669-5018-BDB88B7A46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06982" y="1923728"/>
              <a:ext cx="2184400" cy="2679700"/>
            </a:xfrm>
            <a:prstGeom prst="rect">
              <a:avLst/>
            </a:prstGeom>
          </p:spPr>
        </p:pic>
      </p:grp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469A369E-3216-3A94-D069-C4212D6C5B2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853194"/>
          </a:xfrm>
        </p:spPr>
        <p:txBody>
          <a:bodyPr numCol="1" spcCol="180000"/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8A9C1315-921F-285F-D6BD-A177DE53DC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5643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F0999A6-8092-1A74-E3A2-26CC341F65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5643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5E81801-D408-BD68-8EF8-821176E431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3362" y="3054704"/>
            <a:ext cx="2231105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E29D8EA-6114-4150-3B97-EAD0BB047B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3362" y="2501966"/>
            <a:ext cx="2231105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832C3EE2-E731-14E8-F235-F0DC107603F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96559" y="3054704"/>
            <a:ext cx="2251850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3514D2BC-4EB5-482F-640F-D4ECA3398E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96559" y="2501966"/>
            <a:ext cx="2251850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76B8D71-6027-E9D4-DE0B-4336DE4C876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244461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06DA17C-A871-793A-2C8F-F98A0EDA8E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44461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116845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652260" y="1304924"/>
            <a:ext cx="5033328" cy="4608501"/>
          </a:xfrm>
        </p:spPr>
        <p:txBody>
          <a:bodyPr numCol="1" spcCol="180000">
            <a:noAutofit/>
          </a:bodyPr>
          <a:lstStyle>
            <a:lvl1pPr marL="0" indent="0"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4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39308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345193" y="1304925"/>
            <a:ext cx="5340395" cy="312265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BC205A0-AF05-E822-A6D1-8E80B8895804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33774272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315BB4-CEA5-4429-26F4-D4B56B8BE1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59525" y="368300"/>
            <a:ext cx="5326063" cy="2685505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2F1485A-E0B4-C14E-58C4-9144A8FEE29C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11324253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5" descr="A picture containing ray, fish&#10;&#10;Description automatically generated">
            <a:extLst>
              <a:ext uri="{FF2B5EF4-FFF2-40B4-BE49-F238E27FC236}">
                <a16:creationId xmlns:a16="http://schemas.microsoft.com/office/drawing/2014/main" id="{E64479CB-DB0F-9D45-918A-B9BEDD2EC8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272" r="15376"/>
          <a:stretch/>
        </p:blipFill>
        <p:spPr>
          <a:xfrm>
            <a:off x="-3" y="0"/>
            <a:ext cx="6096001" cy="6858000"/>
          </a:xfrm>
          <a:prstGeom prst="round1Rect">
            <a:avLst>
              <a:gd name="adj" fmla="val 14304"/>
            </a:avLst>
          </a:prstGeom>
        </p:spPr>
      </p:pic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DAB788B4-A63C-D849-B216-E7D266CBBA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F314B004-6AB6-8142-919B-E7ECC46845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BFF0CE34-D1A8-0246-ADEF-5C8D775712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938" y="1963923"/>
            <a:ext cx="5064591" cy="3104603"/>
          </a:xfrm>
        </p:spPr>
        <p:txBody>
          <a:bodyPr>
            <a:noAutofit/>
          </a:bodyPr>
          <a:lstStyle>
            <a:lvl1pPr algn="ctr">
              <a:lnSpc>
                <a:spcPct val="80000"/>
              </a:lnSpc>
              <a:spcAft>
                <a:spcPts val="0"/>
              </a:spcAft>
              <a:defRPr sz="32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16436846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7">
            <a:extLst>
              <a:ext uri="{FF2B5EF4-FFF2-40B4-BE49-F238E27FC236}">
                <a16:creationId xmlns:a16="http://schemas.microsoft.com/office/drawing/2014/main" id="{1426049D-A517-EA42-AFCA-8DDB22C6BA3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95588" y="-10508"/>
            <a:ext cx="5711376" cy="6879020"/>
          </a:xfrm>
          <a:custGeom>
            <a:avLst/>
            <a:gdLst>
              <a:gd name="connsiteX0" fmla="*/ 0 w 7962406"/>
              <a:gd name="connsiteY0" fmla="*/ 0 h 6857999"/>
              <a:gd name="connsiteX1" fmla="*/ 7962406 w 7962406"/>
              <a:gd name="connsiteY1" fmla="*/ 0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0" fmla="*/ 0 w 7962406"/>
              <a:gd name="connsiteY0" fmla="*/ 0 h 6857999"/>
              <a:gd name="connsiteX1" fmla="*/ 6039013 w 7962406"/>
              <a:gd name="connsiteY1" fmla="*/ 84083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5" fmla="*/ 0 w 7962406"/>
              <a:gd name="connsiteY5" fmla="*/ 0 h 6857999"/>
              <a:gd name="connsiteX0" fmla="*/ 0 w 7962406"/>
              <a:gd name="connsiteY0" fmla="*/ 10510 h 6868509"/>
              <a:gd name="connsiteX1" fmla="*/ 6144117 w 7962406"/>
              <a:gd name="connsiteY1" fmla="*/ 0 h 6868509"/>
              <a:gd name="connsiteX2" fmla="*/ 7962406 w 7962406"/>
              <a:gd name="connsiteY2" fmla="*/ 6868509 h 6868509"/>
              <a:gd name="connsiteX3" fmla="*/ 1019785 w 7962406"/>
              <a:gd name="connsiteY3" fmla="*/ 6868509 h 6868509"/>
              <a:gd name="connsiteX4" fmla="*/ 0 w 7962406"/>
              <a:gd name="connsiteY4" fmla="*/ 5848724 h 6868509"/>
              <a:gd name="connsiteX5" fmla="*/ 0 w 7962406"/>
              <a:gd name="connsiteY5" fmla="*/ 10510 h 6868509"/>
              <a:gd name="connsiteX0" fmla="*/ 0 w 6144117"/>
              <a:gd name="connsiteY0" fmla="*/ 10510 h 6868509"/>
              <a:gd name="connsiteX1" fmla="*/ 6144117 w 6144117"/>
              <a:gd name="connsiteY1" fmla="*/ 0 h 6868509"/>
              <a:gd name="connsiteX2" fmla="*/ 5660640 w 6144117"/>
              <a:gd name="connsiteY2" fmla="*/ 6563709 h 6868509"/>
              <a:gd name="connsiteX3" fmla="*/ 1019785 w 6144117"/>
              <a:gd name="connsiteY3" fmla="*/ 6868509 h 6868509"/>
              <a:gd name="connsiteX4" fmla="*/ 0 w 6144117"/>
              <a:gd name="connsiteY4" fmla="*/ 5848724 h 6868509"/>
              <a:gd name="connsiteX5" fmla="*/ 0 w 6144117"/>
              <a:gd name="connsiteY5" fmla="*/ 10510 h 6868509"/>
              <a:gd name="connsiteX0" fmla="*/ 0 w 6154626"/>
              <a:gd name="connsiteY0" fmla="*/ 10510 h 6879020"/>
              <a:gd name="connsiteX1" fmla="*/ 6144117 w 6154626"/>
              <a:gd name="connsiteY1" fmla="*/ 0 h 6879020"/>
              <a:gd name="connsiteX2" fmla="*/ 6154626 w 6154626"/>
              <a:gd name="connsiteY2" fmla="*/ 6879020 h 6879020"/>
              <a:gd name="connsiteX3" fmla="*/ 1019785 w 6154626"/>
              <a:gd name="connsiteY3" fmla="*/ 6868509 h 6879020"/>
              <a:gd name="connsiteX4" fmla="*/ 0 w 6154626"/>
              <a:gd name="connsiteY4" fmla="*/ 5848724 h 6879020"/>
              <a:gd name="connsiteX5" fmla="*/ 0 w 6154626"/>
              <a:gd name="connsiteY5" fmla="*/ 10510 h 687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4626" h="6879020">
                <a:moveTo>
                  <a:pt x="0" y="10510"/>
                </a:moveTo>
                <a:lnTo>
                  <a:pt x="6144117" y="0"/>
                </a:lnTo>
                <a:lnTo>
                  <a:pt x="6154626" y="6879020"/>
                </a:lnTo>
                <a:lnTo>
                  <a:pt x="1019785" y="6868509"/>
                </a:lnTo>
                <a:cubicBezTo>
                  <a:pt x="456573" y="6868509"/>
                  <a:pt x="0" y="6411936"/>
                  <a:pt x="0" y="5848724"/>
                </a:cubicBezTo>
                <a:lnTo>
                  <a:pt x="0" y="105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4320384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5913949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2F4BDEF-FEFC-0BDD-3EB4-7710855ED6AB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515937" y="1329378"/>
            <a:ext cx="5580062" cy="4637076"/>
          </a:xfrm>
        </p:spPr>
        <p:txBody>
          <a:bodyPr numCol="1" spcCol="180000" anchor="t">
            <a:noAutofit/>
          </a:bodyPr>
          <a:lstStyle>
            <a:lvl1pPr marL="0" indent="0">
              <a:lnSpc>
                <a:spcPct val="100000"/>
              </a:lnSpc>
              <a:spcAft>
                <a:spcPts val="1800"/>
              </a:spcAft>
              <a:buClr>
                <a:schemeClr val="bg2"/>
              </a:buClr>
              <a:buFont typeface="Arial" panose="020B0604020202020204" pitchFamily="34" charset="0"/>
              <a:buNone/>
              <a:defRPr sz="28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7D9C6B7-7323-827F-E01F-2EFDCE721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312873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1625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1625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441625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9001860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733177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3287807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452281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AA59D731-0D13-EB6C-7B10-1B59D3D8C5A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388626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460938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4056745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0250E06-295E-B6E6-95C4-089EF7886C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1638B5E-8DB0-EAFF-0CF3-8812AF05A9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49392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248EBF9A-10A9-92FA-05B2-3A952388340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2846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D2E71522-4C4D-EAC4-2A71-F45B1F18D56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1369692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720795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2" name="Title Placeholder 1">
            <a:extLst>
              <a:ext uri="{FF2B5EF4-FFF2-40B4-BE49-F238E27FC236}">
                <a16:creationId xmlns:a16="http://schemas.microsoft.com/office/drawing/2014/main" id="{14F0825D-90B8-6120-7F14-9DC0960BC9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AF40E274-F0AF-0436-1F33-86E04DCC0D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DB2C3DC3-9DBF-095B-1AEB-4513EE50C64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1566849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EBBD32EE-C0FF-E8CB-43E3-315A609AEFE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9E2EB64B-500A-8201-8F3F-287FDE60FB1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709BC01A-3AFB-CE31-0E4A-EE885FE2D5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CD03EE5B-6B86-7B77-E541-93CE051152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761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id="{F9CB884D-6999-7DC7-1825-FC60BEC935B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662940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0" name="Text Placeholder 6">
            <a:extLst>
              <a:ext uri="{FF2B5EF4-FFF2-40B4-BE49-F238E27FC236}">
                <a16:creationId xmlns:a16="http://schemas.microsoft.com/office/drawing/2014/main" id="{F03D69DA-4061-E20B-1262-8A9F09B92D2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90107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4DA3F266-6EB8-18CF-146E-FCE0EE2BCCE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64275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2" name="Text Placeholder 6">
            <a:extLst>
              <a:ext uri="{FF2B5EF4-FFF2-40B4-BE49-F238E27FC236}">
                <a16:creationId xmlns:a16="http://schemas.microsoft.com/office/drawing/2014/main" id="{ABAC94EC-4D3A-CEAC-3763-AE5EBA842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7618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3" name="Text Placeholder 6">
            <a:extLst>
              <a:ext uri="{FF2B5EF4-FFF2-40B4-BE49-F238E27FC236}">
                <a16:creationId xmlns:a16="http://schemas.microsoft.com/office/drawing/2014/main" id="{CB8F9A8E-E04A-1CA2-A320-7A4AE6F70D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62940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</p:spTree>
    <p:extLst>
      <p:ext uri="{BB962C8B-B14F-4D97-AF65-F5344CB8AC3E}">
        <p14:creationId xmlns:p14="http://schemas.microsoft.com/office/powerpoint/2010/main" val="267128982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45069581"/>
              </p:ext>
            </p:extLst>
          </p:nvPr>
        </p:nvGraphicFramePr>
        <p:xfrm>
          <a:off x="606585" y="2278196"/>
          <a:ext cx="11007608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19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36105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5F501377-4DE1-C96B-B5CB-4675C424B7F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00140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71120A03-3A4D-1301-C17A-86C4C160588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84842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321941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95489908"/>
              </p:ext>
            </p:extLst>
          </p:nvPr>
        </p:nvGraphicFramePr>
        <p:xfrm>
          <a:off x="606585" y="2265316"/>
          <a:ext cx="11007610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152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6"/>
            <a:ext cx="11042014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2892295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2217229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89882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67720"/>
            <a:ext cx="2193481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06338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2428D8F-1413-2F6F-66F0-EA64E72C6F19}"/>
              </a:ext>
            </a:extLst>
          </p:cNvPr>
          <p:cNvSpPr>
            <a:spLocks noChangeAspect="1"/>
          </p:cNvSpPr>
          <p:nvPr userDrawn="1"/>
        </p:nvSpPr>
        <p:spPr>
          <a:xfrm>
            <a:off x="51086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71">
            <a:extLst>
              <a:ext uri="{FF2B5EF4-FFF2-40B4-BE49-F238E27FC236}">
                <a16:creationId xmlns:a16="http://schemas.microsoft.com/office/drawing/2014/main" id="{ED2B6425-619B-AFAF-1CF5-12D51DA095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06206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048595-A0EA-7BB4-A2D8-622DB0779CA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22662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31A4FAF-CCB7-1F56-BEE2-622CF1A54FAB}"/>
              </a:ext>
            </a:extLst>
          </p:cNvPr>
          <p:cNvSpPr>
            <a:spLocks noChangeAspect="1"/>
          </p:cNvSpPr>
          <p:nvPr userDrawn="1"/>
        </p:nvSpPr>
        <p:spPr>
          <a:xfrm>
            <a:off x="7304231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Placeholder 71">
            <a:extLst>
              <a:ext uri="{FF2B5EF4-FFF2-40B4-BE49-F238E27FC236}">
                <a16:creationId xmlns:a16="http://schemas.microsoft.com/office/drawing/2014/main" id="{AD33553F-FF2E-A084-58B1-CABD32043C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1818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E55650A2-C067-405B-1B74-AC970B406C5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218274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65D2802-7493-9694-05E4-80CC2EF9B231}"/>
              </a:ext>
            </a:extLst>
          </p:cNvPr>
          <p:cNvSpPr>
            <a:spLocks noChangeAspect="1"/>
          </p:cNvSpPr>
          <p:nvPr userDrawn="1"/>
        </p:nvSpPr>
        <p:spPr>
          <a:xfrm>
            <a:off x="951255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71">
            <a:extLst>
              <a:ext uri="{FF2B5EF4-FFF2-40B4-BE49-F238E27FC236}">
                <a16:creationId xmlns:a16="http://schemas.microsoft.com/office/drawing/2014/main" id="{71110D7A-CD1D-2C97-57A0-9A17C8D313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10141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E1F3181-D3F3-3AA6-E3A7-A60D86BCE4F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426597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961624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39511842"/>
              </p:ext>
            </p:extLst>
          </p:nvPr>
        </p:nvGraphicFramePr>
        <p:xfrm>
          <a:off x="577178" y="2265316"/>
          <a:ext cx="11007618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4603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834603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834603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834603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1834603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  <a:gridCol w="1834603">
                  <a:extLst>
                    <a:ext uri="{9D8B030D-6E8A-4147-A177-3AD203B41FA5}">
                      <a16:colId xmlns:a16="http://schemas.microsoft.com/office/drawing/2014/main" val="2168740535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5"/>
            <a:ext cx="11006985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7178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78D6D93-FD32-F6AE-2A57-61C348C02B3E}"/>
              </a:ext>
            </a:extLst>
          </p:cNvPr>
          <p:cNvSpPr>
            <a:spLocks noChangeAspect="1"/>
          </p:cNvSpPr>
          <p:nvPr userDrawn="1"/>
        </p:nvSpPr>
        <p:spPr>
          <a:xfrm>
            <a:off x="25150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 Placeholder 71">
            <a:extLst>
              <a:ext uri="{FF2B5EF4-FFF2-40B4-BE49-F238E27FC236}">
                <a16:creationId xmlns:a16="http://schemas.microsoft.com/office/drawing/2014/main" id="{21AE5853-8A99-8A93-1D01-2F7FCE23E3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1117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1AA430BA-739B-1F40-97FF-53B14467EF8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41118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C0E5BE5-8378-48E2-C8D1-F22E49536780}"/>
              </a:ext>
            </a:extLst>
          </p:cNvPr>
          <p:cNvSpPr>
            <a:spLocks noChangeAspect="1"/>
          </p:cNvSpPr>
          <p:nvPr userDrawn="1"/>
        </p:nvSpPr>
        <p:spPr>
          <a:xfrm>
            <a:off x="4364033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 Placeholder 71">
            <a:extLst>
              <a:ext uri="{FF2B5EF4-FFF2-40B4-BE49-F238E27FC236}">
                <a16:creationId xmlns:a16="http://schemas.microsoft.com/office/drawing/2014/main" id="{DDCEF4C9-0B45-4A5E-2D03-31D3672575C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0193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B994265A-DDDF-4B03-8D82-FB42EFBCBC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60194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0F31CF81-312F-837D-5714-92C7014354C5}"/>
              </a:ext>
            </a:extLst>
          </p:cNvPr>
          <p:cNvSpPr>
            <a:spLocks noChangeAspect="1"/>
          </p:cNvSpPr>
          <p:nvPr userDrawn="1"/>
        </p:nvSpPr>
        <p:spPr>
          <a:xfrm>
            <a:off x="619983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 Placeholder 71">
            <a:extLst>
              <a:ext uri="{FF2B5EF4-FFF2-40B4-BE49-F238E27FC236}">
                <a16:creationId xmlns:a16="http://schemas.microsoft.com/office/drawing/2014/main" id="{62AEAA69-3020-A0FF-5608-7AFD7A5D29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599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79626162-0EE9-3BA8-0CDF-67028FE32F1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09600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D4AB8F32-B492-2CD9-826C-E5C5378592C9}"/>
              </a:ext>
            </a:extLst>
          </p:cNvPr>
          <p:cNvSpPr>
            <a:spLocks noChangeAspect="1"/>
          </p:cNvSpPr>
          <p:nvPr userDrawn="1"/>
        </p:nvSpPr>
        <p:spPr>
          <a:xfrm>
            <a:off x="803564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3F1D7A91-7111-6E5C-279C-1B1D9695082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31804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0E2562B9-545B-AF00-D9F9-44E167A11B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931805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A45C6367-A74F-1C2C-672E-F2E6078D3C68}"/>
              </a:ext>
            </a:extLst>
          </p:cNvPr>
          <p:cNvSpPr>
            <a:spLocks noChangeAspect="1"/>
          </p:cNvSpPr>
          <p:nvPr userDrawn="1"/>
        </p:nvSpPr>
        <p:spPr>
          <a:xfrm>
            <a:off x="9847196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5865903F-F98B-94C0-7563-3A297E41DA2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43356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CAB912CE-814A-19EE-2402-D55C72FA588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743357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58528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45CF2AFF-6382-CC47-A9B2-6962575BD2A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prstGeom prst="round1Rect">
            <a:avLst>
              <a:gd name="adj" fmla="val 14462"/>
            </a:avLst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0061CA4A-3267-0A05-192C-5D4306FFB8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1A9FCAB2-BA25-DBAB-7A6E-265C863487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227401841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ual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803BAA2C-9254-B18D-A058-251E52C66E8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06880639"/>
              </p:ext>
            </p:extLst>
          </p:nvPr>
        </p:nvGraphicFramePr>
        <p:xfrm>
          <a:off x="606585" y="2278196"/>
          <a:ext cx="11007612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917301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27914870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86396939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4286243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49616785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93639814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25181152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982123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74312375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031F97C-D610-4D45-F78B-D175D9A0E75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5839" y="2583275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FF72A2C-EC93-1960-E000-9D1BE3C473D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374" y="2588233"/>
            <a:ext cx="2451893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B3311CB-DC37-BF2B-8E33-872990686A6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0770" y="3112528"/>
            <a:ext cx="2477398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C6A5BFA-3D10-182C-1A20-2F9F25DA5EC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374" y="3112528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3D306BC-6AA0-5B15-EAD0-1C4B6C007AE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374" y="3636823"/>
            <a:ext cx="10779794" cy="38056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279148-11D1-D193-7504-E15A8DBBB7ED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773" y="4161117"/>
            <a:ext cx="9537643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7F7FC01-6091-5D90-D333-FA5671F43B8E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2654" y="4685411"/>
            <a:ext cx="3986410" cy="380567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23990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645879FE-583A-DE44-88BA-EB276A69E0F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592778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29D7B8B-35CA-A145-A474-98CA941C891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515938" y="2081213"/>
            <a:ext cx="11153775" cy="383222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5479175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1304925"/>
            <a:ext cx="11160125" cy="4608513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267440434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+ Intr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2186941"/>
            <a:ext cx="11160125" cy="372649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0B67ED7-707C-628A-DD8C-8D05275A882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31133" y="1304924"/>
            <a:ext cx="11144930" cy="760095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766284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190624578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 + Key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2951067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12" name="Table Placeholder 13">
            <a:extLst>
              <a:ext uri="{FF2B5EF4-FFF2-40B4-BE49-F238E27FC236}">
                <a16:creationId xmlns:a16="http://schemas.microsoft.com/office/drawing/2014/main" id="{0471F0B8-12A0-7A45-8C7A-E02063FE5C87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531813" y="4531663"/>
            <a:ext cx="5564187" cy="138177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here to insert table of key statistics</a:t>
            </a:r>
          </a:p>
        </p:txBody>
      </p:sp>
    </p:spTree>
    <p:extLst>
      <p:ext uri="{BB962C8B-B14F-4D97-AF65-F5344CB8AC3E}">
        <p14:creationId xmlns:p14="http://schemas.microsoft.com/office/powerpoint/2010/main" val="324340419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F7144900-27CB-F8C8-8750-EBFD50556D3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7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371966-686F-3873-1B61-8D4F2F1781A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409056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1BA048F-6972-4609-34F2-EF8FDBBDBB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4278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224FF60B-6BD0-9B1E-2959-11D6263640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7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2DB6CCCB-718D-70C8-7A09-2EE0D714452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409056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6878B28-F503-455B-0FEA-80DE709054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4278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AAADD6C4-F1D9-F92B-C5FD-4B4DA8B17CF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33196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A5E09E69-6CAD-B355-9823-320AB8FAE6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333196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82368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8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9411" y="1711994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25EC710C-2932-CFFF-F55D-955597F0FB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35796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247CB122-DF3E-CDA7-027B-26E525434AE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527232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27971BF0-784D-F3CF-2C6F-CA518054204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20024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0B2CA69D-267F-C90D-4248-B4C35F26DF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11460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Picture Placeholder 9">
            <a:extLst>
              <a:ext uri="{FF2B5EF4-FFF2-40B4-BE49-F238E27FC236}">
                <a16:creationId xmlns:a16="http://schemas.microsoft.com/office/drawing/2014/main" id="{5897A2C1-9865-7BB8-2197-358370EFD4A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8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62920B1E-EBA9-626D-6305-A1ADAE904D1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699411" y="3155667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4" name="Picture Placeholder 9">
            <a:extLst>
              <a:ext uri="{FF2B5EF4-FFF2-40B4-BE49-F238E27FC236}">
                <a16:creationId xmlns:a16="http://schemas.microsoft.com/office/drawing/2014/main" id="{544F1E77-8814-8A3B-D86A-076D4023AC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35796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C7619CC2-0DAA-26FC-AEAA-30394D48883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27232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Picture Placeholder 9">
            <a:extLst>
              <a:ext uri="{FF2B5EF4-FFF2-40B4-BE49-F238E27FC236}">
                <a16:creationId xmlns:a16="http://schemas.microsoft.com/office/drawing/2014/main" id="{8FAFCD1B-5A84-929A-D622-CC609C41B00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220024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32DEC219-4AAE-290C-5636-F2670570011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11460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8" name="Picture Placeholder 9">
            <a:extLst>
              <a:ext uri="{FF2B5EF4-FFF2-40B4-BE49-F238E27FC236}">
                <a16:creationId xmlns:a16="http://schemas.microsoft.com/office/drawing/2014/main" id="{B2CF404E-74E2-7F8B-678B-6E7F764D9B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15938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494146F5-9D36-2EF7-388E-A72B6DA0D9B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99411" y="4599456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9">
            <a:extLst>
              <a:ext uri="{FF2B5EF4-FFF2-40B4-BE49-F238E27FC236}">
                <a16:creationId xmlns:a16="http://schemas.microsoft.com/office/drawing/2014/main" id="{B71BEAAD-C8C5-6988-5CBE-F7E30241059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335796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138E6919-019E-02BB-5D0D-FF9C121424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27232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Picture Placeholder 9">
            <a:extLst>
              <a:ext uri="{FF2B5EF4-FFF2-40B4-BE49-F238E27FC236}">
                <a16:creationId xmlns:a16="http://schemas.microsoft.com/office/drawing/2014/main" id="{50AEE6D7-E551-8465-B986-00D61EB9730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220024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EABA07AD-B083-3DC8-2E9C-6607785D0D9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11460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181144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9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96367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Picture Placeholder 9">
            <a:extLst>
              <a:ext uri="{FF2B5EF4-FFF2-40B4-BE49-F238E27FC236}">
                <a16:creationId xmlns:a16="http://schemas.microsoft.com/office/drawing/2014/main" id="{0A36E1BF-5D7A-3667-C65B-2DB32E2BD38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15939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4" name="Text Placeholder 15">
            <a:extLst>
              <a:ext uri="{FF2B5EF4-FFF2-40B4-BE49-F238E27FC236}">
                <a16:creationId xmlns:a16="http://schemas.microsoft.com/office/drawing/2014/main" id="{A3EF6248-9648-B0CE-3E04-C8F8A63036E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96367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Picture Placeholder 9">
            <a:extLst>
              <a:ext uri="{FF2B5EF4-FFF2-40B4-BE49-F238E27FC236}">
                <a16:creationId xmlns:a16="http://schemas.microsoft.com/office/drawing/2014/main" id="{C5444EBA-19D0-8678-BDDD-147CE44BC1E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15939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7D5C4711-97F4-DDD0-D960-DEDF44E5F47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596367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7" name="Picture Placeholder 9">
            <a:extLst>
              <a:ext uri="{FF2B5EF4-FFF2-40B4-BE49-F238E27FC236}">
                <a16:creationId xmlns:a16="http://schemas.microsoft.com/office/drawing/2014/main" id="{E65DD9AF-BC5A-0D6D-203A-19C299826DF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15939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50F33994-9EA1-2A51-A537-50F4FB57B23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596367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9" name="Picture Placeholder 9">
            <a:extLst>
              <a:ext uri="{FF2B5EF4-FFF2-40B4-BE49-F238E27FC236}">
                <a16:creationId xmlns:a16="http://schemas.microsoft.com/office/drawing/2014/main" id="{F4BC789A-02DE-1B25-C17D-56031BFFAC7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357530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0" name="Text Placeholder 15">
            <a:extLst>
              <a:ext uri="{FF2B5EF4-FFF2-40B4-BE49-F238E27FC236}">
                <a16:creationId xmlns:a16="http://schemas.microsoft.com/office/drawing/2014/main" id="{397D8B8C-1AD2-D2A1-C4BA-DC06F2B6EF6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437958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1" name="Picture Placeholder 9">
            <a:extLst>
              <a:ext uri="{FF2B5EF4-FFF2-40B4-BE49-F238E27FC236}">
                <a16:creationId xmlns:a16="http://schemas.microsoft.com/office/drawing/2014/main" id="{96F24F90-0E84-D6E6-53DE-5CA754BCC22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357530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FEE53D37-03B9-FEA3-D9B3-377C5ACE8FB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437958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3" name="Picture Placeholder 9">
            <a:extLst>
              <a:ext uri="{FF2B5EF4-FFF2-40B4-BE49-F238E27FC236}">
                <a16:creationId xmlns:a16="http://schemas.microsoft.com/office/drawing/2014/main" id="{D91880C0-5866-3A2D-E9A1-293A080C3CBC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357530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68479F4A-C40B-C6DF-03E8-C507FF3D45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5437958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Picture Placeholder 9">
            <a:extLst>
              <a:ext uri="{FF2B5EF4-FFF2-40B4-BE49-F238E27FC236}">
                <a16:creationId xmlns:a16="http://schemas.microsoft.com/office/drawing/2014/main" id="{C62DBBD6-D33E-DF74-5AE8-96D1913C8C20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4357530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05529239-A4B5-258D-03F5-01D3ADFE887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5437958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Picture Placeholder 9">
            <a:extLst>
              <a:ext uri="{FF2B5EF4-FFF2-40B4-BE49-F238E27FC236}">
                <a16:creationId xmlns:a16="http://schemas.microsoft.com/office/drawing/2014/main" id="{114AD459-859C-6C0F-FB75-4B02606E57BB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99122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8" name="Text Placeholder 15">
            <a:extLst>
              <a:ext uri="{FF2B5EF4-FFF2-40B4-BE49-F238E27FC236}">
                <a16:creationId xmlns:a16="http://schemas.microsoft.com/office/drawing/2014/main" id="{4EAF0426-CCDA-221A-38EC-BBD417EBF569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279550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Picture Placeholder 9">
            <a:extLst>
              <a:ext uri="{FF2B5EF4-FFF2-40B4-BE49-F238E27FC236}">
                <a16:creationId xmlns:a16="http://schemas.microsoft.com/office/drawing/2014/main" id="{EF2E7661-7F3A-851E-C60B-815DA8CE2A1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8199122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id="{8748A2D7-29EB-EEF8-E6A5-383DA278969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279550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1" name="Picture Placeholder 9">
            <a:extLst>
              <a:ext uri="{FF2B5EF4-FFF2-40B4-BE49-F238E27FC236}">
                <a16:creationId xmlns:a16="http://schemas.microsoft.com/office/drawing/2014/main" id="{E88761E4-7653-636A-0723-500AE4782BC6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8199122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id="{B10E2844-BD47-9C07-357D-9EA651BBCA67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279550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3" name="Picture Placeholder 9">
            <a:extLst>
              <a:ext uri="{FF2B5EF4-FFF2-40B4-BE49-F238E27FC236}">
                <a16:creationId xmlns:a16="http://schemas.microsoft.com/office/drawing/2014/main" id="{310F2473-00CD-C33D-50C3-3F40271F3927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199122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4" name="Text Placeholder 15">
            <a:extLst>
              <a:ext uri="{FF2B5EF4-FFF2-40B4-BE49-F238E27FC236}">
                <a16:creationId xmlns:a16="http://schemas.microsoft.com/office/drawing/2014/main" id="{789611C4-8E98-E2CF-35EB-922860C66E00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9279550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92853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>
            <a:normAutofit/>
          </a:bodyPr>
          <a:lstStyle>
            <a:lvl1pPr marL="457200" indent="-457200">
              <a:spcBef>
                <a:spcPts val="18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419995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2F82B885-0103-7D42-AE00-61FB2FE0C2F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022951 w 6096001"/>
              <a:gd name="connsiteY0" fmla="*/ 1876235 h 6858000"/>
              <a:gd name="connsiteX1" fmla="*/ 2208500 w 6096001"/>
              <a:gd name="connsiteY1" fmla="*/ 2461578 h 6858000"/>
              <a:gd name="connsiteX2" fmla="*/ 2208500 w 6096001"/>
              <a:gd name="connsiteY2" fmla="*/ 2993835 h 6858000"/>
              <a:gd name="connsiteX3" fmla="*/ 2859036 w 6096001"/>
              <a:gd name="connsiteY3" fmla="*/ 2643188 h 6858000"/>
              <a:gd name="connsiteX4" fmla="*/ 2859036 w 6096001"/>
              <a:gd name="connsiteY4" fmla="*/ 4981766 h 6858000"/>
              <a:gd name="connsiteX5" fmla="*/ 3371270 w 6096001"/>
              <a:gd name="connsiteY5" fmla="*/ 4981766 h 6858000"/>
              <a:gd name="connsiteX6" fmla="*/ 3371270 w 6096001"/>
              <a:gd name="connsiteY6" fmla="*/ 1876235 h 6858000"/>
              <a:gd name="connsiteX7" fmla="*/ 0 w 6096001"/>
              <a:gd name="connsiteY7" fmla="*/ 0 h 6858000"/>
              <a:gd name="connsiteX8" fmla="*/ 5214397 w 6096001"/>
              <a:gd name="connsiteY8" fmla="*/ 0 h 6858000"/>
              <a:gd name="connsiteX9" fmla="*/ 6096001 w 6096001"/>
              <a:gd name="connsiteY9" fmla="*/ 881604 h 6858000"/>
              <a:gd name="connsiteX10" fmla="*/ 6096001 w 6096001"/>
              <a:gd name="connsiteY10" fmla="*/ 6858000 h 6858000"/>
              <a:gd name="connsiteX11" fmla="*/ 0 w 6096001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6001" h="6858000">
                <a:moveTo>
                  <a:pt x="3022951" y="1876235"/>
                </a:moveTo>
                <a:cubicBezTo>
                  <a:pt x="2752748" y="2187766"/>
                  <a:pt x="2482545" y="2379155"/>
                  <a:pt x="2208500" y="2461578"/>
                </a:cubicBezTo>
                <a:lnTo>
                  <a:pt x="2208500" y="2993835"/>
                </a:lnTo>
                <a:cubicBezTo>
                  <a:pt x="2426199" y="2942146"/>
                  <a:pt x="2640057" y="2824798"/>
                  <a:pt x="2859036" y="2643188"/>
                </a:cubicBezTo>
                <a:lnTo>
                  <a:pt x="2859036" y="4981766"/>
                </a:lnTo>
                <a:lnTo>
                  <a:pt x="3371270" y="4981766"/>
                </a:lnTo>
                <a:lnTo>
                  <a:pt x="3371270" y="1876235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986D095-697A-1E47-8E9F-EB12D0E9F6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814918A3-C773-18F8-ADDE-EC691CAF16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B0C1A345-F393-A646-D204-1844335C51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81875639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6275323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6275323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5376371" cy="4204608"/>
          </a:xfrm>
        </p:spPr>
        <p:txBody>
          <a:bodyPr numCol="1" spcCol="360000">
            <a:normAutofit/>
          </a:bodyPr>
          <a:lstStyle>
            <a:lvl1pPr marL="457200" indent="-4572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1F8B0E5-465B-1592-BFB3-5F01C3B0E69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132637" y="1708830"/>
            <a:ext cx="664405" cy="4204608"/>
          </a:xfrm>
        </p:spPr>
        <p:txBody>
          <a:bodyPr numCol="1" spcCol="360000">
            <a:normAutofit/>
          </a:bodyPr>
          <a:lstStyle>
            <a:lvl1pPr marL="0" indent="0" algn="r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None/>
              <a:defRPr sz="2400" b="0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X</a:t>
            </a:r>
          </a:p>
          <a:p>
            <a:pPr lvl="0"/>
            <a:endParaRPr lang="en-GB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EA8C7E29-42A4-2542-6547-ACCD8C92B2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368539" y="366371"/>
            <a:ext cx="4307523" cy="5530549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6192730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55173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895703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46692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Dark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81880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Sta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290FAF2-2869-2B9B-5880-4EE57045BC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828" y="1249683"/>
            <a:ext cx="11208352" cy="269081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r>
              <a:rPr lang="en-GB"/>
              <a:t>XXXXXX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0F9BA01A-4636-2441-F8D0-2E265BF7D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751308-8682-E296-A343-1719555B3C95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1AFB23D-B299-93C8-2304-575B5ED93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5" name="Picture 11">
            <a:extLst>
              <a:ext uri="{FF2B5EF4-FFF2-40B4-BE49-F238E27FC236}">
                <a16:creationId xmlns:a16="http://schemas.microsoft.com/office/drawing/2014/main" id="{A4BBC3E9-F3A2-C188-5A3A-9D714331C8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AB32E5-85C1-B8E6-505F-2580C9B2E9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6" y="4053840"/>
            <a:ext cx="6364924" cy="1668779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06546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 +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5" descr="A picture containing ray, fish&#10;&#10;Description automatically generated">
            <a:extLst>
              <a:ext uri="{FF2B5EF4-FFF2-40B4-BE49-F238E27FC236}">
                <a16:creationId xmlns:a16="http://schemas.microsoft.com/office/drawing/2014/main" id="{E64479CB-DB0F-9D45-918A-B9BEDD2EC8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272" r="15376"/>
          <a:stretch/>
        </p:blipFill>
        <p:spPr>
          <a:xfrm>
            <a:off x="-3" y="0"/>
            <a:ext cx="6096001" cy="6858000"/>
          </a:xfrm>
          <a:prstGeom prst="round1Rect">
            <a:avLst>
              <a:gd name="adj" fmla="val 14304"/>
            </a:avLst>
          </a:prstGeom>
        </p:spPr>
      </p:pic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DAB788B4-A63C-D849-B216-E7D266CBBA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F314B004-6AB6-8142-919B-E7ECC46845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BFF0CE34-D1A8-0246-ADEF-5C8D775712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938" y="1963923"/>
            <a:ext cx="5064591" cy="3104603"/>
          </a:xfrm>
        </p:spPr>
        <p:txBody>
          <a:bodyPr>
            <a:noAutofit/>
          </a:bodyPr>
          <a:lstStyle>
            <a:lvl1pPr algn="ctr">
              <a:lnSpc>
                <a:spcPct val="80000"/>
              </a:lnSpc>
              <a:spcAft>
                <a:spcPts val="0"/>
              </a:spcAft>
              <a:defRPr sz="32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91406153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161280"/>
          </a:xfrm>
          <a:prstGeom prst="rect">
            <a:avLst/>
          </a:prstGeom>
        </p:spPr>
      </p:pic>
      <p:pic>
        <p:nvPicPr>
          <p:cNvPr id="13" name="Image 12" descr="Bas_couv.png"/>
          <p:cNvPicPr>
            <a:picLocks noChangeAspect="1"/>
          </p:cNvPicPr>
          <p:nvPr userDrawn="1"/>
        </p:nvPicPr>
        <p:blipFill>
          <a:blip r:embed="rId3" cstate="print"/>
          <a:srcRect r="60243" b="722"/>
          <a:stretch>
            <a:fillRect/>
          </a:stretch>
        </p:blipFill>
        <p:spPr bwMode="gray">
          <a:xfrm>
            <a:off x="251520" y="5213040"/>
            <a:ext cx="3416493" cy="1584000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 bwMode="gray">
          <a:xfrm>
            <a:off x="4847169" y="5265205"/>
            <a:ext cx="7344833" cy="1592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974400"/>
            <a:ext cx="6384000" cy="2232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3733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72000" y="3585600"/>
            <a:ext cx="6384000" cy="14784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buNone/>
              <a:defRPr sz="2667" b="0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>
                <a:solidFill>
                  <a:prstClr val="white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>
          <a:xfrm>
            <a:off x="672000" y="6327933"/>
            <a:ext cx="1200149" cy="530067"/>
          </a:xfrm>
          <a:prstGeom prst="rect">
            <a:avLst/>
          </a:prstGeom>
        </p:spPr>
        <p:txBody>
          <a:bodyPr/>
          <a:lstStyle>
            <a:lvl1pPr>
              <a:defRPr sz="133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>
                <a:solidFill>
                  <a:prstClr val="white">
                    <a:alpha val="0"/>
                  </a:prstClr>
                </a:solidFill>
              </a:rPr>
              <a:t>Page: </a:t>
            </a:r>
            <a:fld id="{733122C9-A0B9-462F-8757-0847AD287B63}" type="slidenum">
              <a:rPr lang="en-US" smtClean="0">
                <a:solidFill>
                  <a:prstClr val="white">
                    <a:alpha val="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7"/>
          </p:nvPr>
        </p:nvSpPr>
        <p:spPr bwMode="gray">
          <a:xfrm>
            <a:off x="672000" y="585600"/>
            <a:ext cx="6384000" cy="360000"/>
          </a:xfrm>
          <a:prstGeom prst="rect">
            <a:avLst/>
          </a:prstGeom>
        </p:spPr>
        <p:txBody>
          <a:bodyPr/>
          <a:lstStyle>
            <a:lvl1pPr algn="l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#add your hashtag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592000" y="5899200"/>
            <a:ext cx="5884800" cy="3264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12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Write your claim here</a:t>
            </a: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5592000" y="6283200"/>
            <a:ext cx="58848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US" sz="1200">
                <a:solidFill>
                  <a:srgbClr val="95D600"/>
                </a:solidFill>
              </a:rPr>
              <a:t>www.gavi.org</a:t>
            </a:r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672000" y="3391895"/>
            <a:ext cx="23376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925755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Pictu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161280"/>
          </a:xfrm>
          <a:prstGeom prst="rect">
            <a:avLst/>
          </a:prstGeom>
        </p:spPr>
      </p:pic>
      <p:pic>
        <p:nvPicPr>
          <p:cNvPr id="23" name="Image 22" descr="Bas_couv.png"/>
          <p:cNvPicPr>
            <a:picLocks noChangeAspect="1"/>
          </p:cNvPicPr>
          <p:nvPr userDrawn="1"/>
        </p:nvPicPr>
        <p:blipFill>
          <a:blip r:embed="rId3" cstate="print"/>
          <a:srcRect r="60243" b="722"/>
          <a:stretch>
            <a:fillRect/>
          </a:stretch>
        </p:blipFill>
        <p:spPr bwMode="gray">
          <a:xfrm>
            <a:off x="251520" y="5213040"/>
            <a:ext cx="3416493" cy="1584000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 bwMode="gray">
          <a:xfrm>
            <a:off x="4847167" y="5213040"/>
            <a:ext cx="7344833" cy="1592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974400"/>
            <a:ext cx="6384000" cy="2232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3733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72000" y="3585600"/>
            <a:ext cx="6384000" cy="14796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buNone/>
              <a:defRPr sz="2667" b="0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>
                <a:solidFill>
                  <a:prstClr val="white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>
          <a:xfrm>
            <a:off x="672000" y="6327933"/>
            <a:ext cx="1200149" cy="530067"/>
          </a:xfrm>
          <a:prstGeom prst="rect">
            <a:avLst/>
          </a:prstGeom>
        </p:spPr>
        <p:txBody>
          <a:bodyPr/>
          <a:lstStyle>
            <a:lvl1pPr>
              <a:defRPr sz="133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>
                <a:solidFill>
                  <a:prstClr val="white">
                    <a:alpha val="0"/>
                  </a:prstClr>
                </a:solidFill>
              </a:rPr>
              <a:t>Page: </a:t>
            </a:r>
            <a:fld id="{733122C9-A0B9-462F-8757-0847AD287B63}" type="slidenum">
              <a:rPr lang="en-US" smtClean="0">
                <a:solidFill>
                  <a:prstClr val="white">
                    <a:alpha val="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7"/>
          </p:nvPr>
        </p:nvSpPr>
        <p:spPr bwMode="gray">
          <a:xfrm>
            <a:off x="672000" y="585600"/>
            <a:ext cx="6384000" cy="360000"/>
          </a:xfrm>
          <a:prstGeom prst="rect">
            <a:avLst/>
          </a:prstGeom>
        </p:spPr>
        <p:txBody>
          <a:bodyPr/>
          <a:lstStyle>
            <a:lvl1pPr algn="l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#add your hashtag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592000" y="5899200"/>
            <a:ext cx="5884800" cy="3240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12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Write your claim here</a:t>
            </a: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5592000" y="6283200"/>
            <a:ext cx="5884800" cy="287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US" sz="1200">
                <a:solidFill>
                  <a:srgbClr val="95D600"/>
                </a:solidFill>
              </a:rPr>
              <a:t>www.gavi.org</a:t>
            </a: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672000" y="3391895"/>
            <a:ext cx="23376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18" name="Espace réservé pour une image  25"/>
          <p:cNvSpPr>
            <a:spLocks noGrp="1"/>
          </p:cNvSpPr>
          <p:nvPr>
            <p:ph type="pic" sz="quarter" idx="10" hasCustomPrompt="1"/>
          </p:nvPr>
        </p:nvSpPr>
        <p:spPr>
          <a:xfrm>
            <a:off x="6821913" y="0"/>
            <a:ext cx="5370089" cy="5158800"/>
          </a:xfrm>
          <a:custGeom>
            <a:avLst/>
            <a:gdLst>
              <a:gd name="connsiteX0" fmla="*/ 1929568 w 4027567"/>
              <a:gd name="connsiteY0" fmla="*/ 0 h 3869100"/>
              <a:gd name="connsiteX1" fmla="*/ 4027567 w 4027567"/>
              <a:gd name="connsiteY1" fmla="*/ 0 h 3869100"/>
              <a:gd name="connsiteX2" fmla="*/ 4027567 w 4027567"/>
              <a:gd name="connsiteY2" fmla="*/ 3869100 h 3869100"/>
              <a:gd name="connsiteX3" fmla="*/ 0 w 4027567"/>
              <a:gd name="connsiteY3" fmla="*/ 3869100 h 3869100"/>
              <a:gd name="connsiteX4" fmla="*/ 29823 w 4027567"/>
              <a:gd name="connsiteY4" fmla="*/ 3580448 h 3869100"/>
              <a:gd name="connsiteX5" fmla="*/ 1929568 w 4027567"/>
              <a:gd name="connsiteY5" fmla="*/ 0 h 386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7567" h="3869100">
                <a:moveTo>
                  <a:pt x="1929568" y="0"/>
                </a:moveTo>
                <a:lnTo>
                  <a:pt x="4027567" y="0"/>
                </a:lnTo>
                <a:lnTo>
                  <a:pt x="4027567" y="3869100"/>
                </a:lnTo>
                <a:lnTo>
                  <a:pt x="0" y="3869100"/>
                </a:lnTo>
                <a:lnTo>
                  <a:pt x="29823" y="3580448"/>
                </a:lnTo>
                <a:cubicBezTo>
                  <a:pt x="280550" y="2115735"/>
                  <a:pt x="1924285" y="945283"/>
                  <a:pt x="1929568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tIns="72000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Select your own photo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5157789"/>
            <a:ext cx="12192000" cy="287337"/>
          </a:xfrm>
          <a:solidFill>
            <a:schemeClr val="bg1"/>
          </a:solidFill>
        </p:spPr>
        <p:txBody>
          <a:bodyPr/>
          <a:lstStyle>
            <a:lvl1pPr>
              <a:defRPr sz="133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0113234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3453377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672000" y="1037167"/>
            <a:ext cx="7368533" cy="1646864"/>
          </a:xfrm>
        </p:spPr>
        <p:txBody>
          <a:bodyPr/>
          <a:lstStyle/>
          <a:p>
            <a:r>
              <a:rPr lang="en-US" noProof="0"/>
              <a:t>TITL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72000" y="2902572"/>
            <a:ext cx="7368533" cy="2903445"/>
          </a:xfrm>
        </p:spPr>
        <p:txBody>
          <a:bodyPr/>
          <a:lstStyle/>
          <a:p>
            <a:pPr lvl="0"/>
            <a:r>
              <a:rPr lang="en-US" noProof="0"/>
              <a:t>Text level 1</a:t>
            </a:r>
          </a:p>
          <a:p>
            <a:pPr lvl="1"/>
            <a:r>
              <a:rPr lang="en-US" noProof="0"/>
              <a:t>Text level 2</a:t>
            </a:r>
          </a:p>
          <a:p>
            <a:pPr lvl="2"/>
            <a:r>
              <a:rPr lang="en-US" noProof="0"/>
              <a:t>Text level 3</a:t>
            </a:r>
          </a:p>
          <a:p>
            <a:pPr lvl="3"/>
            <a:r>
              <a:rPr lang="en-US" noProof="0"/>
              <a:t>Text level 4</a:t>
            </a:r>
          </a:p>
          <a:p>
            <a:pPr lvl="4"/>
            <a:r>
              <a:rPr lang="en-US" noProof="0"/>
              <a:t>Text level 5</a:t>
            </a:r>
          </a:p>
        </p:txBody>
      </p:sp>
      <p:sp>
        <p:nvSpPr>
          <p:cNvPr id="14" name="Espace réservé du texte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1"/>
            <a:ext cx="2495211" cy="4990431"/>
          </a:xfrm>
        </p:spPr>
        <p:txBody>
          <a:bodyPr/>
          <a:lstStyle>
            <a:lvl1pPr algn="r">
              <a:defRPr sz="22133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>
                <a:solidFill>
                  <a:prstClr val="white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6"/>
          </p:nvPr>
        </p:nvSpPr>
        <p:spPr bwMode="gray">
          <a:xfrm>
            <a:off x="672000" y="6327933"/>
            <a:ext cx="1200149" cy="530067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en-US">
                <a:solidFill>
                  <a:srgbClr val="343434"/>
                </a:solidFill>
              </a:rPr>
              <a:pPr/>
              <a:t>‹#›</a:t>
            </a:fld>
            <a:endParaRPr lang="en-US">
              <a:solidFill>
                <a:srgbClr val="343434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3672000" y="2777245"/>
            <a:ext cx="13440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8423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785EFCE5-1951-3242-A232-F252911C4EA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078800 w 6096001"/>
              <a:gd name="connsiteY0" fmla="*/ 1892300 h 6858000"/>
              <a:gd name="connsiteX1" fmla="*/ 2003079 w 6096001"/>
              <a:gd name="connsiteY1" fmla="*/ 2443193 h 6858000"/>
              <a:gd name="connsiteX2" fmla="*/ 2435905 w 6096001"/>
              <a:gd name="connsiteY2" fmla="*/ 2746603 h 6858000"/>
              <a:gd name="connsiteX3" fmla="*/ 3026635 w 6096001"/>
              <a:gd name="connsiteY3" fmla="*/ 2408238 h 6858000"/>
              <a:gd name="connsiteX4" fmla="*/ 3472150 w 6096001"/>
              <a:gd name="connsiteY4" fmla="*/ 2777364 h 6858000"/>
              <a:gd name="connsiteX5" fmla="*/ 2825026 w 6096001"/>
              <a:gd name="connsiteY5" fmla="*/ 3514218 h 6858000"/>
              <a:gd name="connsiteX6" fmla="*/ 1986161 w 6096001"/>
              <a:gd name="connsiteY6" fmla="*/ 4857893 h 6858000"/>
              <a:gd name="connsiteX7" fmla="*/ 1986161 w 6096001"/>
              <a:gd name="connsiteY7" fmla="*/ 5014492 h 6858000"/>
              <a:gd name="connsiteX8" fmla="*/ 4102356 w 6096001"/>
              <a:gd name="connsiteY8" fmla="*/ 5014492 h 6858000"/>
              <a:gd name="connsiteX9" fmla="*/ 4102356 w 6096001"/>
              <a:gd name="connsiteY9" fmla="*/ 4515333 h 6858000"/>
              <a:gd name="connsiteX10" fmla="*/ 2614957 w 6096001"/>
              <a:gd name="connsiteY10" fmla="*/ 4515333 h 6858000"/>
              <a:gd name="connsiteX11" fmla="*/ 3301557 w 6096001"/>
              <a:gd name="connsiteY11" fmla="*/ 3809239 h 6858000"/>
              <a:gd name="connsiteX12" fmla="*/ 4053011 w 6096001"/>
              <a:gd name="connsiteY12" fmla="*/ 2750798 h 6858000"/>
              <a:gd name="connsiteX13" fmla="*/ 3078800 w 6096001"/>
              <a:gd name="connsiteY13" fmla="*/ 1892300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078800" y="1892300"/>
                </a:moveTo>
                <a:cubicBezTo>
                  <a:pt x="2571252" y="1892300"/>
                  <a:pt x="2235706" y="2082456"/>
                  <a:pt x="2003079" y="2443193"/>
                </a:cubicBezTo>
                <a:lnTo>
                  <a:pt x="2435905" y="2746603"/>
                </a:lnTo>
                <a:cubicBezTo>
                  <a:pt x="2576891" y="2529882"/>
                  <a:pt x="2768632" y="2408238"/>
                  <a:pt x="3026635" y="2408238"/>
                </a:cubicBezTo>
                <a:cubicBezTo>
                  <a:pt x="3318476" y="2408238"/>
                  <a:pt x="3472150" y="2556447"/>
                  <a:pt x="3472150" y="2777364"/>
                </a:cubicBezTo>
                <a:cubicBezTo>
                  <a:pt x="3472150" y="3020651"/>
                  <a:pt x="3301557" y="3198224"/>
                  <a:pt x="2825026" y="3514218"/>
                </a:cubicBezTo>
                <a:cubicBezTo>
                  <a:pt x="2231476" y="3916901"/>
                  <a:pt x="1986161" y="4315389"/>
                  <a:pt x="1986161" y="4857893"/>
                </a:cubicBezTo>
                <a:lnTo>
                  <a:pt x="1986161" y="5014492"/>
                </a:lnTo>
                <a:lnTo>
                  <a:pt x="4102356" y="5014492"/>
                </a:lnTo>
                <a:lnTo>
                  <a:pt x="4102356" y="4515333"/>
                </a:lnTo>
                <a:lnTo>
                  <a:pt x="2614957" y="4515333"/>
                </a:lnTo>
                <a:cubicBezTo>
                  <a:pt x="2645974" y="4346150"/>
                  <a:pt x="2891289" y="4081889"/>
                  <a:pt x="3301557" y="3809239"/>
                </a:cubicBezTo>
                <a:cubicBezTo>
                  <a:pt x="3834483" y="3456891"/>
                  <a:pt x="4053011" y="3175852"/>
                  <a:pt x="4053011" y="2750798"/>
                </a:cubicBezTo>
                <a:cubicBezTo>
                  <a:pt x="4053011" y="2255833"/>
                  <a:pt x="3646972" y="1892300"/>
                  <a:pt x="3078800" y="1892300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A70D9B68-451F-F24D-9AD8-10CAC45526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AD887088-580E-3280-834E-11FE0CAB12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9D3AEDA3-676C-74F6-E9E7-0A9358720A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338959295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72000" y="1603200"/>
            <a:ext cx="10848000" cy="41904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US" noProof="0"/>
              <a:t>Text level 1</a:t>
            </a:r>
          </a:p>
          <a:p>
            <a:pPr lvl="1"/>
            <a:r>
              <a:rPr lang="en-US" noProof="0"/>
              <a:t>Text level 2</a:t>
            </a:r>
          </a:p>
          <a:p>
            <a:pPr lvl="2"/>
            <a:r>
              <a:rPr lang="en-US" noProof="0"/>
              <a:t>Text level 3</a:t>
            </a:r>
          </a:p>
          <a:p>
            <a:pPr lvl="3"/>
            <a:r>
              <a:rPr lang="en-US" noProof="0"/>
              <a:t>Text level 4</a:t>
            </a:r>
          </a:p>
          <a:p>
            <a:pPr lvl="4"/>
            <a:r>
              <a:rPr lang="en-US" noProof="0"/>
              <a:t>Text level 5</a:t>
            </a:r>
          </a:p>
        </p:txBody>
      </p:sp>
      <p:sp>
        <p:nvSpPr>
          <p:cNvPr id="13" name="Espace réservé de la date 1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>
                <a:solidFill>
                  <a:prstClr val="white">
                    <a:alpha val="0"/>
                  </a:prstClr>
                </a:solidFill>
              </a:rPr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21994187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&amp;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4357648" y="1607999"/>
            <a:ext cx="6960000" cy="4198017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US" noProof="0"/>
              <a:t>Text level 1</a:t>
            </a:r>
          </a:p>
          <a:p>
            <a:pPr lvl="1"/>
            <a:r>
              <a:rPr lang="en-US" noProof="0"/>
              <a:t>Text level 2</a:t>
            </a:r>
          </a:p>
          <a:p>
            <a:pPr lvl="2"/>
            <a:r>
              <a:rPr lang="en-US" noProof="0"/>
              <a:t>Text level 3</a:t>
            </a:r>
          </a:p>
          <a:p>
            <a:pPr lvl="3"/>
            <a:r>
              <a:rPr lang="en-US" noProof="0"/>
              <a:t>Text level 4</a:t>
            </a:r>
          </a:p>
          <a:p>
            <a:pPr lvl="4"/>
            <a:r>
              <a:rPr lang="en-US" noProof="0"/>
              <a:t>Text level 5</a:t>
            </a:r>
          </a:p>
        </p:txBody>
      </p:sp>
      <p:sp>
        <p:nvSpPr>
          <p:cNvPr id="9" name="Espace réservé pour une image 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707856"/>
            <a:ext cx="4072411" cy="4098163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US" noProof="0"/>
              <a:t>Select your own photo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>
                <a:solidFill>
                  <a:prstClr val="white">
                    <a:alpha val="0"/>
                  </a:prstClr>
                </a:solidFill>
              </a:rPr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84875777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672000" y="217251"/>
            <a:ext cx="10848000" cy="1036637"/>
          </a:xfrm>
        </p:spPr>
        <p:txBody>
          <a:bodyPr/>
          <a:lstStyle/>
          <a:p>
            <a:r>
              <a:rPr lang="en-US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72000" y="1603201"/>
            <a:ext cx="5424000" cy="4202817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US" noProof="0"/>
              <a:t>Text level 1</a:t>
            </a:r>
          </a:p>
          <a:p>
            <a:pPr lvl="1"/>
            <a:r>
              <a:rPr lang="en-US" noProof="0"/>
              <a:t>Text level 2</a:t>
            </a:r>
          </a:p>
          <a:p>
            <a:pPr lvl="2"/>
            <a:r>
              <a:rPr lang="en-US" noProof="0"/>
              <a:t>Text level 3</a:t>
            </a:r>
          </a:p>
          <a:p>
            <a:pPr lvl="3"/>
            <a:r>
              <a:rPr lang="en-US" noProof="0"/>
              <a:t>Text level 4</a:t>
            </a:r>
          </a:p>
          <a:p>
            <a:pPr lvl="4"/>
            <a:r>
              <a:rPr lang="en-US" noProof="0"/>
              <a:t>Text level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>
                <a:solidFill>
                  <a:prstClr val="white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6751499" y="1603201"/>
            <a:ext cx="4768501" cy="4202817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US" noProof="0"/>
              <a:t>Text level 1</a:t>
            </a:r>
          </a:p>
          <a:p>
            <a:pPr lvl="1"/>
            <a:r>
              <a:rPr lang="en-US" noProof="0"/>
              <a:t>Text level 2</a:t>
            </a:r>
          </a:p>
          <a:p>
            <a:pPr lvl="2"/>
            <a:r>
              <a:rPr lang="en-US" noProof="0"/>
              <a:t>Text level 3</a:t>
            </a:r>
          </a:p>
          <a:p>
            <a:pPr lvl="3"/>
            <a:r>
              <a:rPr lang="en-US" noProof="0"/>
              <a:t>Text level 4</a:t>
            </a:r>
          </a:p>
          <a:p>
            <a:pPr lvl="4"/>
            <a:r>
              <a:rPr lang="en-US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99573750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&amp;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72000" y="3309347"/>
            <a:ext cx="10848000" cy="249667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US" noProof="0"/>
              <a:t>Text level 1</a:t>
            </a:r>
          </a:p>
          <a:p>
            <a:pPr lvl="1"/>
            <a:r>
              <a:rPr lang="en-US" noProof="0"/>
              <a:t>Text level 2</a:t>
            </a:r>
          </a:p>
          <a:p>
            <a:pPr lvl="2"/>
            <a:r>
              <a:rPr lang="en-US" noProof="0"/>
              <a:t>Text level 3</a:t>
            </a:r>
          </a:p>
          <a:p>
            <a:pPr lvl="3"/>
            <a:r>
              <a:rPr lang="en-US" noProof="0"/>
              <a:t>Text level 4</a:t>
            </a:r>
          </a:p>
          <a:p>
            <a:pPr lvl="4"/>
            <a:r>
              <a:rPr lang="en-US" noProof="0"/>
              <a:t>Text level 5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1603200"/>
            <a:ext cx="10848000" cy="1633779"/>
          </a:xfrm>
        </p:spPr>
        <p:txBody>
          <a:bodyPr/>
          <a:lstStyle/>
          <a:p>
            <a:pPr lvl="0"/>
            <a:r>
              <a:rPr lang="en-US" noProof="0"/>
              <a:t>Text level 1</a:t>
            </a:r>
          </a:p>
          <a:p>
            <a:pPr lvl="1"/>
            <a:r>
              <a:rPr lang="en-US" noProof="0"/>
              <a:t>Text level 2</a:t>
            </a:r>
          </a:p>
          <a:p>
            <a:pPr lvl="2"/>
            <a:r>
              <a:rPr lang="en-US" noProof="0"/>
              <a:t>Text level 3</a:t>
            </a:r>
          </a:p>
          <a:p>
            <a:pPr lvl="3"/>
            <a:r>
              <a:rPr lang="en-US" noProof="0"/>
              <a:t>Text level 4</a:t>
            </a:r>
          </a:p>
          <a:p>
            <a:pPr lvl="4"/>
            <a:r>
              <a:rPr lang="en-US" noProof="0"/>
              <a:t>Text level 5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>
                <a:solidFill>
                  <a:prstClr val="white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217782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 17" descr="Image_03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6620071" y="-16850"/>
            <a:ext cx="5591179" cy="5712068"/>
          </a:xfrm>
          <a:prstGeom prst="rect">
            <a:avLst/>
          </a:prstGeom>
        </p:spPr>
      </p:pic>
      <p:sp>
        <p:nvSpPr>
          <p:cNvPr id="13" name="Forme libre 12"/>
          <p:cNvSpPr/>
          <p:nvPr userDrawn="1"/>
        </p:nvSpPr>
        <p:spPr>
          <a:xfrm>
            <a:off x="3" y="0"/>
            <a:ext cx="9394668" cy="5160000"/>
          </a:xfrm>
          <a:custGeom>
            <a:avLst/>
            <a:gdLst>
              <a:gd name="connsiteX0" fmla="*/ 0 w 7046001"/>
              <a:gd name="connsiteY0" fmla="*/ 0 h 3870000"/>
              <a:gd name="connsiteX1" fmla="*/ 7046001 w 7046001"/>
              <a:gd name="connsiteY1" fmla="*/ 0 h 3870000"/>
              <a:gd name="connsiteX2" fmla="*/ 5146256 w 7046001"/>
              <a:gd name="connsiteY2" fmla="*/ 3580448 h 3870000"/>
              <a:gd name="connsiteX3" fmla="*/ 5116340 w 7046001"/>
              <a:gd name="connsiteY3" fmla="*/ 3870000 h 3870000"/>
              <a:gd name="connsiteX4" fmla="*/ 0 w 7046001"/>
              <a:gd name="connsiteY4" fmla="*/ 3870000 h 387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46001" h="3870000">
                <a:moveTo>
                  <a:pt x="0" y="0"/>
                </a:moveTo>
                <a:lnTo>
                  <a:pt x="7046001" y="0"/>
                </a:lnTo>
                <a:cubicBezTo>
                  <a:pt x="7040718" y="945283"/>
                  <a:pt x="5396983" y="2115735"/>
                  <a:pt x="5146256" y="3580448"/>
                </a:cubicBezTo>
                <a:lnTo>
                  <a:pt x="5116340" y="3870000"/>
                </a:lnTo>
                <a:lnTo>
                  <a:pt x="0" y="387000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4847169" y="5265205"/>
            <a:ext cx="7344833" cy="1592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974400"/>
            <a:ext cx="6384000" cy="2232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3733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/>
              <a:t>THANK YOU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>
                <a:solidFill>
                  <a:prstClr val="white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7"/>
          </p:nvPr>
        </p:nvSpPr>
        <p:spPr bwMode="gray">
          <a:xfrm>
            <a:off x="672000" y="585600"/>
            <a:ext cx="6384000" cy="360000"/>
          </a:xfrm>
          <a:prstGeom prst="rect">
            <a:avLst/>
          </a:prstGeom>
        </p:spPr>
        <p:txBody>
          <a:bodyPr/>
          <a:lstStyle>
            <a:lvl1pPr algn="l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#add your hashtag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592000" y="5899200"/>
            <a:ext cx="5884800" cy="3240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12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Write your claim here</a:t>
            </a: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5592000" y="6283200"/>
            <a:ext cx="5884800" cy="287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US" sz="1200">
                <a:solidFill>
                  <a:srgbClr val="95D600"/>
                </a:solidFill>
              </a:rPr>
              <a:t>www.gavi.org</a:t>
            </a: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672000" y="3393600"/>
            <a:ext cx="23376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5157789"/>
            <a:ext cx="12192000" cy="287337"/>
          </a:xfrm>
          <a:solidFill>
            <a:schemeClr val="bg1"/>
          </a:solidFill>
        </p:spPr>
        <p:txBody>
          <a:bodyPr/>
          <a:lstStyle>
            <a:lvl1pPr>
              <a:defRPr sz="133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5567199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_pictu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161280"/>
          </a:xfrm>
          <a:prstGeom prst="rect">
            <a:avLst/>
          </a:prstGeom>
        </p:spPr>
      </p:pic>
      <p:sp>
        <p:nvSpPr>
          <p:cNvPr id="20" name="Espace réservé pour une image  25"/>
          <p:cNvSpPr>
            <a:spLocks noGrp="1"/>
          </p:cNvSpPr>
          <p:nvPr>
            <p:ph type="pic" sz="quarter" idx="10" hasCustomPrompt="1"/>
          </p:nvPr>
        </p:nvSpPr>
        <p:spPr>
          <a:xfrm>
            <a:off x="6821913" y="0"/>
            <a:ext cx="5370089" cy="5158800"/>
          </a:xfrm>
          <a:custGeom>
            <a:avLst/>
            <a:gdLst>
              <a:gd name="connsiteX0" fmla="*/ 1929568 w 4027567"/>
              <a:gd name="connsiteY0" fmla="*/ 0 h 3869100"/>
              <a:gd name="connsiteX1" fmla="*/ 4027567 w 4027567"/>
              <a:gd name="connsiteY1" fmla="*/ 0 h 3869100"/>
              <a:gd name="connsiteX2" fmla="*/ 4027567 w 4027567"/>
              <a:gd name="connsiteY2" fmla="*/ 3869100 h 3869100"/>
              <a:gd name="connsiteX3" fmla="*/ 0 w 4027567"/>
              <a:gd name="connsiteY3" fmla="*/ 3869100 h 3869100"/>
              <a:gd name="connsiteX4" fmla="*/ 29823 w 4027567"/>
              <a:gd name="connsiteY4" fmla="*/ 3580448 h 3869100"/>
              <a:gd name="connsiteX5" fmla="*/ 1929568 w 4027567"/>
              <a:gd name="connsiteY5" fmla="*/ 0 h 386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7567" h="3869100">
                <a:moveTo>
                  <a:pt x="1929568" y="0"/>
                </a:moveTo>
                <a:lnTo>
                  <a:pt x="4027567" y="0"/>
                </a:lnTo>
                <a:lnTo>
                  <a:pt x="4027567" y="3869100"/>
                </a:lnTo>
                <a:lnTo>
                  <a:pt x="0" y="3869100"/>
                </a:lnTo>
                <a:lnTo>
                  <a:pt x="29823" y="3580448"/>
                </a:lnTo>
                <a:cubicBezTo>
                  <a:pt x="280550" y="2115735"/>
                  <a:pt x="1924285" y="945283"/>
                  <a:pt x="1929568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tIns="72000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Select your own photo</a:t>
            </a:r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4847169" y="5265205"/>
            <a:ext cx="7344833" cy="1592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974400"/>
            <a:ext cx="6384000" cy="2232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3733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/>
              <a:t>THANK YOU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>
                <a:solidFill>
                  <a:prstClr val="white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>
          <a:xfrm>
            <a:off x="672000" y="6327933"/>
            <a:ext cx="1200149" cy="530067"/>
          </a:xfrm>
          <a:prstGeom prst="rect">
            <a:avLst/>
          </a:prstGeom>
        </p:spPr>
        <p:txBody>
          <a:bodyPr/>
          <a:lstStyle>
            <a:lvl1pPr>
              <a:defRPr sz="133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>
                <a:solidFill>
                  <a:prstClr val="white">
                    <a:alpha val="0"/>
                  </a:prstClr>
                </a:solidFill>
              </a:rPr>
              <a:t>Page: </a:t>
            </a:r>
            <a:fld id="{733122C9-A0B9-462F-8757-0847AD287B63}" type="slidenum">
              <a:rPr lang="en-US" smtClean="0">
                <a:solidFill>
                  <a:prstClr val="white">
                    <a:alpha val="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7"/>
          </p:nvPr>
        </p:nvSpPr>
        <p:spPr bwMode="gray">
          <a:xfrm>
            <a:off x="672000" y="585600"/>
            <a:ext cx="6384000" cy="360000"/>
          </a:xfrm>
          <a:prstGeom prst="rect">
            <a:avLst/>
          </a:prstGeom>
        </p:spPr>
        <p:txBody>
          <a:bodyPr/>
          <a:lstStyle>
            <a:lvl1pPr algn="l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#add your hashtag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592000" y="5899200"/>
            <a:ext cx="5884800" cy="3240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12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Write your claim here</a:t>
            </a: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5592000" y="6283200"/>
            <a:ext cx="5884800" cy="287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US" sz="1200">
                <a:solidFill>
                  <a:srgbClr val="95D600"/>
                </a:solidFill>
              </a:rPr>
              <a:t>www.gavi.org</a:t>
            </a: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672000" y="3391895"/>
            <a:ext cx="23376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5157789"/>
            <a:ext cx="12192000" cy="287337"/>
          </a:xfrm>
          <a:solidFill>
            <a:schemeClr val="bg1"/>
          </a:solidFill>
        </p:spPr>
        <p:txBody>
          <a:bodyPr/>
          <a:lstStyle>
            <a:lvl1pPr>
              <a:defRPr sz="133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13107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BRAND </a:t>
            </a:r>
            <a:r>
              <a:rPr lang="en-US" noProof="0" err="1"/>
              <a:t>COLOUR</a:t>
            </a:r>
            <a:r>
              <a:rPr lang="en-US" noProof="0"/>
              <a:t> PALETT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white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216000" y="6327933"/>
            <a:ext cx="5760000" cy="53006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5CB9"/>
                </a:solidFill>
              </a:rPr>
              <a:t>#add your hashtag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672000" y="6327933"/>
            <a:ext cx="1200149" cy="530067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en-US">
                <a:solidFill>
                  <a:srgbClr val="343434"/>
                </a:solidFill>
              </a:rPr>
              <a:pPr/>
              <a:t>‹#›</a:t>
            </a:fld>
            <a:endParaRPr lang="en-US">
              <a:solidFill>
                <a:srgbClr val="343434"/>
              </a:solidFill>
            </a:endParaRPr>
          </a:p>
        </p:txBody>
      </p:sp>
      <p:sp>
        <p:nvSpPr>
          <p:cNvPr id="6" name="ZoneTexte 5"/>
          <p:cNvSpPr txBox="1"/>
          <p:nvPr userDrawn="1"/>
        </p:nvSpPr>
        <p:spPr>
          <a:xfrm>
            <a:off x="672000" y="1506440"/>
            <a:ext cx="4358557" cy="29925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r>
              <a:rPr lang="en-US" sz="2400">
                <a:solidFill>
                  <a:srgbClr val="005CB9"/>
                </a:solidFill>
              </a:rPr>
              <a:t>Primary</a:t>
            </a:r>
          </a:p>
          <a:p>
            <a:pPr lvl="1" indent="-124881">
              <a:spcAft>
                <a:spcPts val="800"/>
              </a:spcAft>
              <a:buClr>
                <a:srgbClr val="343434"/>
              </a:buClr>
              <a:buFont typeface="Arial" panose="020B0604020202020204" pitchFamily="34" charset="0"/>
              <a:buChar char="•"/>
            </a:pPr>
            <a:r>
              <a:rPr lang="en-US" sz="2133">
                <a:solidFill>
                  <a:srgbClr val="343434"/>
                </a:solidFill>
              </a:rPr>
              <a:t>Corporate </a:t>
            </a:r>
            <a:r>
              <a:rPr lang="en-US" sz="2133" err="1">
                <a:solidFill>
                  <a:srgbClr val="343434"/>
                </a:solidFill>
              </a:rPr>
              <a:t>Colours</a:t>
            </a:r>
            <a:endParaRPr lang="en-US" sz="2133">
              <a:solidFill>
                <a:srgbClr val="343434"/>
              </a:solidFill>
            </a:endParaRPr>
          </a:p>
          <a:p>
            <a:pPr lvl="1" indent="-124881">
              <a:spcAft>
                <a:spcPts val="800"/>
              </a:spcAft>
              <a:buClr>
                <a:srgbClr val="343434"/>
              </a:buClr>
              <a:buFont typeface="Arial" panose="020B0604020202020204" pitchFamily="34" charset="0"/>
              <a:buChar char="•"/>
            </a:pPr>
            <a:r>
              <a:rPr lang="en-US" sz="2133">
                <a:solidFill>
                  <a:srgbClr val="343434"/>
                </a:solidFill>
              </a:rPr>
              <a:t>Strategic Goal </a:t>
            </a:r>
            <a:r>
              <a:rPr lang="en-US" sz="2133" err="1">
                <a:solidFill>
                  <a:srgbClr val="343434"/>
                </a:solidFill>
              </a:rPr>
              <a:t>Colours</a:t>
            </a:r>
            <a:endParaRPr lang="en-US" sz="2133">
              <a:solidFill>
                <a:srgbClr val="343434"/>
              </a:solidFill>
            </a:endParaRPr>
          </a:p>
          <a:p>
            <a:pPr>
              <a:lnSpc>
                <a:spcPct val="110000"/>
              </a:lnSpc>
            </a:pPr>
            <a:r>
              <a:rPr lang="en-US" sz="2400">
                <a:solidFill>
                  <a:srgbClr val="005CB9"/>
                </a:solidFill>
              </a:rPr>
              <a:t>Secondary</a:t>
            </a:r>
          </a:p>
        </p:txBody>
      </p:sp>
      <p:sp>
        <p:nvSpPr>
          <p:cNvPr id="7" name="Freeform 8"/>
          <p:cNvSpPr>
            <a:spLocks noChangeAspect="1"/>
          </p:cNvSpPr>
          <p:nvPr userDrawn="1"/>
        </p:nvSpPr>
        <p:spPr bwMode="auto">
          <a:xfrm>
            <a:off x="5012245" y="141657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2400">
              <a:solidFill>
                <a:srgbClr val="343434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5505451" y="1413965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G: 92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B: 185</a:t>
            </a:r>
          </a:p>
        </p:txBody>
      </p:sp>
      <p:sp>
        <p:nvSpPr>
          <p:cNvPr id="49" name="Rectangle 48"/>
          <p:cNvSpPr/>
          <p:nvPr userDrawn="1"/>
        </p:nvSpPr>
        <p:spPr>
          <a:xfrm>
            <a:off x="6239685" y="5185225"/>
            <a:ext cx="4224801" cy="6355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n-US" sz="1200" b="1">
                <a:solidFill>
                  <a:srgbClr val="343434"/>
                </a:solidFill>
              </a:rPr>
              <a:t>Please use the four </a:t>
            </a:r>
            <a:r>
              <a:rPr lang="en-US" sz="1200" b="1" err="1">
                <a:solidFill>
                  <a:srgbClr val="343434"/>
                </a:solidFill>
              </a:rPr>
              <a:t>Gavi</a:t>
            </a:r>
            <a:r>
              <a:rPr lang="en-US" sz="1200" b="1">
                <a:solidFill>
                  <a:srgbClr val="343434"/>
                </a:solidFill>
              </a:rPr>
              <a:t> corporate </a:t>
            </a:r>
            <a:r>
              <a:rPr lang="en-US" sz="1200" b="1" err="1">
                <a:solidFill>
                  <a:srgbClr val="343434"/>
                </a:solidFill>
              </a:rPr>
              <a:t>colours</a:t>
            </a:r>
            <a:r>
              <a:rPr lang="en-US" sz="1200" b="1">
                <a:solidFill>
                  <a:srgbClr val="343434"/>
                </a:solidFill>
              </a:rPr>
              <a:t> where possible.  Specific strategic goals </a:t>
            </a:r>
            <a:br>
              <a:rPr lang="en-US" sz="1200" b="1">
                <a:solidFill>
                  <a:srgbClr val="343434"/>
                </a:solidFill>
              </a:rPr>
            </a:br>
            <a:r>
              <a:rPr lang="en-US" sz="1200" b="1">
                <a:solidFill>
                  <a:srgbClr val="343434"/>
                </a:solidFill>
              </a:rPr>
              <a:t>or vaccines should be highlighted using the key above. </a:t>
            </a:r>
          </a:p>
        </p:txBody>
      </p:sp>
      <p:sp>
        <p:nvSpPr>
          <p:cNvPr id="65" name="Freeform 8"/>
          <p:cNvSpPr>
            <a:spLocks noChangeAspect="1"/>
          </p:cNvSpPr>
          <p:nvPr userDrawn="1"/>
        </p:nvSpPr>
        <p:spPr bwMode="auto">
          <a:xfrm>
            <a:off x="6457437" y="141657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2400">
              <a:solidFill>
                <a:srgbClr val="343434"/>
              </a:solidFill>
            </a:endParaRPr>
          </a:p>
        </p:txBody>
      </p:sp>
      <p:sp>
        <p:nvSpPr>
          <p:cNvPr id="66" name="Rectangle 65"/>
          <p:cNvSpPr/>
          <p:nvPr userDrawn="1"/>
        </p:nvSpPr>
        <p:spPr>
          <a:xfrm>
            <a:off x="6950643" y="1413965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G: 161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B: 223</a:t>
            </a:r>
          </a:p>
        </p:txBody>
      </p:sp>
      <p:sp>
        <p:nvSpPr>
          <p:cNvPr id="68" name="Freeform 8"/>
          <p:cNvSpPr>
            <a:spLocks noChangeAspect="1"/>
          </p:cNvSpPr>
          <p:nvPr userDrawn="1"/>
        </p:nvSpPr>
        <p:spPr bwMode="auto">
          <a:xfrm>
            <a:off x="7869403" y="141657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2400">
              <a:solidFill>
                <a:srgbClr val="343434"/>
              </a:solidFill>
            </a:endParaRPr>
          </a:p>
        </p:txBody>
      </p:sp>
      <p:sp>
        <p:nvSpPr>
          <p:cNvPr id="69" name="Rectangle 68"/>
          <p:cNvSpPr/>
          <p:nvPr userDrawn="1"/>
        </p:nvSpPr>
        <p:spPr>
          <a:xfrm>
            <a:off x="8362608" y="1413965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R: 149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G: 214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B: 0</a:t>
            </a:r>
          </a:p>
        </p:txBody>
      </p:sp>
      <p:sp>
        <p:nvSpPr>
          <p:cNvPr id="71" name="Freeform 8"/>
          <p:cNvSpPr>
            <a:spLocks noChangeAspect="1"/>
          </p:cNvSpPr>
          <p:nvPr userDrawn="1"/>
        </p:nvSpPr>
        <p:spPr bwMode="auto">
          <a:xfrm>
            <a:off x="9493117" y="141657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2400">
              <a:solidFill>
                <a:srgbClr val="343434"/>
              </a:solidFill>
            </a:endParaRPr>
          </a:p>
        </p:txBody>
      </p:sp>
      <p:sp>
        <p:nvSpPr>
          <p:cNvPr id="72" name="Rectangle 71"/>
          <p:cNvSpPr/>
          <p:nvPr userDrawn="1"/>
        </p:nvSpPr>
        <p:spPr>
          <a:xfrm>
            <a:off x="9986323" y="1413965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R: 135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G: 135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B: 135</a:t>
            </a:r>
          </a:p>
        </p:txBody>
      </p:sp>
      <p:sp>
        <p:nvSpPr>
          <p:cNvPr id="74" name="Freeform 8"/>
          <p:cNvSpPr>
            <a:spLocks noChangeAspect="1"/>
          </p:cNvSpPr>
          <p:nvPr userDrawn="1"/>
        </p:nvSpPr>
        <p:spPr bwMode="auto">
          <a:xfrm>
            <a:off x="5012245" y="2317997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2400">
              <a:solidFill>
                <a:srgbClr val="343434"/>
              </a:solidFill>
            </a:endParaRPr>
          </a:p>
        </p:txBody>
      </p:sp>
      <p:sp>
        <p:nvSpPr>
          <p:cNvPr id="75" name="Rectangle 74"/>
          <p:cNvSpPr/>
          <p:nvPr userDrawn="1"/>
        </p:nvSpPr>
        <p:spPr>
          <a:xfrm>
            <a:off x="5505451" y="2315392"/>
            <a:ext cx="951987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ACCELERATE</a:t>
            </a:r>
          </a:p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VACCINES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R: 165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G: 24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B: 144</a:t>
            </a:r>
          </a:p>
        </p:txBody>
      </p:sp>
      <p:sp>
        <p:nvSpPr>
          <p:cNvPr id="77" name="Freeform 8"/>
          <p:cNvSpPr>
            <a:spLocks noChangeAspect="1"/>
          </p:cNvSpPr>
          <p:nvPr userDrawn="1"/>
        </p:nvSpPr>
        <p:spPr bwMode="auto">
          <a:xfrm>
            <a:off x="6457437" y="2317997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2400">
              <a:solidFill>
                <a:srgbClr val="343434"/>
              </a:solidFill>
            </a:endParaRPr>
          </a:p>
        </p:txBody>
      </p:sp>
      <p:sp>
        <p:nvSpPr>
          <p:cNvPr id="78" name="Rectangle 77"/>
          <p:cNvSpPr/>
          <p:nvPr userDrawn="1"/>
        </p:nvSpPr>
        <p:spPr>
          <a:xfrm>
            <a:off x="6950643" y="2315392"/>
            <a:ext cx="918760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STRENGTHEN</a:t>
            </a:r>
          </a:p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CAPACITY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R: 206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G: 15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B: 105</a:t>
            </a:r>
          </a:p>
        </p:txBody>
      </p:sp>
      <p:sp>
        <p:nvSpPr>
          <p:cNvPr id="80" name="Freeform 8"/>
          <p:cNvSpPr>
            <a:spLocks noChangeAspect="1"/>
          </p:cNvSpPr>
          <p:nvPr userDrawn="1"/>
        </p:nvSpPr>
        <p:spPr bwMode="auto">
          <a:xfrm>
            <a:off x="7869403" y="2317997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2400">
              <a:solidFill>
                <a:srgbClr val="343434"/>
              </a:solidFill>
            </a:endParaRPr>
          </a:p>
        </p:txBody>
      </p:sp>
      <p:sp>
        <p:nvSpPr>
          <p:cNvPr id="81" name="Rectangle 80"/>
          <p:cNvSpPr/>
          <p:nvPr userDrawn="1"/>
        </p:nvSpPr>
        <p:spPr>
          <a:xfrm>
            <a:off x="8362608" y="2315392"/>
            <a:ext cx="997755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INCREASE</a:t>
            </a:r>
          </a:p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PREDICTABILITY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R: 149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G: 214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B: 0</a:t>
            </a:r>
          </a:p>
        </p:txBody>
      </p:sp>
      <p:sp>
        <p:nvSpPr>
          <p:cNvPr id="83" name="Freeform 8"/>
          <p:cNvSpPr>
            <a:spLocks noChangeAspect="1"/>
          </p:cNvSpPr>
          <p:nvPr userDrawn="1"/>
        </p:nvSpPr>
        <p:spPr bwMode="auto">
          <a:xfrm>
            <a:off x="9493117" y="2317997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2400">
              <a:solidFill>
                <a:srgbClr val="343434"/>
              </a:solidFill>
            </a:endParaRPr>
          </a:p>
        </p:txBody>
      </p:sp>
      <p:sp>
        <p:nvSpPr>
          <p:cNvPr id="84" name="Rectangle 83"/>
          <p:cNvSpPr/>
          <p:nvPr userDrawn="1"/>
        </p:nvSpPr>
        <p:spPr>
          <a:xfrm>
            <a:off x="9986323" y="2315392"/>
            <a:ext cx="1054211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SHAPE</a:t>
            </a:r>
          </a:p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THE MARKET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G: 161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B: 223</a:t>
            </a:r>
          </a:p>
        </p:txBody>
      </p:sp>
      <p:sp>
        <p:nvSpPr>
          <p:cNvPr id="97" name="Freeform 8"/>
          <p:cNvSpPr>
            <a:spLocks noChangeAspect="1"/>
          </p:cNvSpPr>
          <p:nvPr userDrawn="1"/>
        </p:nvSpPr>
        <p:spPr bwMode="auto">
          <a:xfrm>
            <a:off x="5012245" y="3401125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CED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2400">
              <a:solidFill>
                <a:srgbClr val="343434"/>
              </a:solidFill>
            </a:endParaRPr>
          </a:p>
        </p:txBody>
      </p:sp>
      <p:sp>
        <p:nvSpPr>
          <p:cNvPr id="98" name="Rectangle 97"/>
          <p:cNvSpPr/>
          <p:nvPr userDrawn="1"/>
        </p:nvSpPr>
        <p:spPr>
          <a:xfrm>
            <a:off x="5505451" y="3236979"/>
            <a:ext cx="951987" cy="804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US" sz="933" b="1" err="1">
                <a:solidFill>
                  <a:srgbClr val="343434"/>
                </a:solidFill>
              </a:rPr>
              <a:t>IPV</a:t>
            </a:r>
            <a:endParaRPr lang="en-US" sz="933" b="1">
              <a:solidFill>
                <a:srgbClr val="343434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INJECTABLE</a:t>
            </a:r>
          </a:p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POLIO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R: 206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G: 220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B: 0</a:t>
            </a:r>
          </a:p>
        </p:txBody>
      </p:sp>
      <p:sp>
        <p:nvSpPr>
          <p:cNvPr id="95" name="Freeform 8"/>
          <p:cNvSpPr>
            <a:spLocks noChangeAspect="1"/>
          </p:cNvSpPr>
          <p:nvPr userDrawn="1"/>
        </p:nvSpPr>
        <p:spPr bwMode="auto">
          <a:xfrm>
            <a:off x="6457437" y="3401125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B288B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2400">
              <a:solidFill>
                <a:srgbClr val="343434"/>
              </a:solidFill>
            </a:endParaRPr>
          </a:p>
        </p:txBody>
      </p:sp>
      <p:sp>
        <p:nvSpPr>
          <p:cNvPr id="96" name="Rectangle 95"/>
          <p:cNvSpPr/>
          <p:nvPr userDrawn="1"/>
        </p:nvSpPr>
        <p:spPr>
          <a:xfrm>
            <a:off x="6950643" y="3398520"/>
            <a:ext cx="918760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JAPANESE</a:t>
            </a:r>
          </a:p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ENCEPHALITIS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R: 178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G: 136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B: 185</a:t>
            </a:r>
          </a:p>
        </p:txBody>
      </p:sp>
      <p:sp>
        <p:nvSpPr>
          <p:cNvPr id="93" name="Freeform 8"/>
          <p:cNvSpPr>
            <a:spLocks noChangeAspect="1"/>
          </p:cNvSpPr>
          <p:nvPr userDrawn="1"/>
        </p:nvSpPr>
        <p:spPr bwMode="auto">
          <a:xfrm>
            <a:off x="7869403" y="3401125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41B6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2400">
              <a:solidFill>
                <a:srgbClr val="343434"/>
              </a:solidFill>
            </a:endParaRPr>
          </a:p>
        </p:txBody>
      </p:sp>
      <p:sp>
        <p:nvSpPr>
          <p:cNvPr id="94" name="Rectangle 93"/>
          <p:cNvSpPr/>
          <p:nvPr userDrawn="1"/>
        </p:nvSpPr>
        <p:spPr>
          <a:xfrm>
            <a:off x="8362608" y="3398520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MEASLES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R: 65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G: 182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B: 230</a:t>
            </a:r>
          </a:p>
        </p:txBody>
      </p:sp>
      <p:sp>
        <p:nvSpPr>
          <p:cNvPr id="91" name="Freeform 8"/>
          <p:cNvSpPr>
            <a:spLocks noChangeAspect="1"/>
          </p:cNvSpPr>
          <p:nvPr userDrawn="1"/>
        </p:nvSpPr>
        <p:spPr bwMode="auto">
          <a:xfrm>
            <a:off x="9493117" y="3401125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0097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2400">
              <a:solidFill>
                <a:srgbClr val="343434"/>
              </a:solidFill>
            </a:endParaRPr>
          </a:p>
        </p:txBody>
      </p:sp>
      <p:sp>
        <p:nvSpPr>
          <p:cNvPr id="92" name="Rectangle 91"/>
          <p:cNvSpPr/>
          <p:nvPr userDrawn="1"/>
        </p:nvSpPr>
        <p:spPr>
          <a:xfrm>
            <a:off x="9986323" y="3398520"/>
            <a:ext cx="910211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MEASLES</a:t>
            </a:r>
          </a:p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2</a:t>
            </a:r>
            <a:r>
              <a:rPr lang="en-US" sz="933" b="1" baseline="30000">
                <a:solidFill>
                  <a:srgbClr val="343434"/>
                </a:solidFill>
              </a:rPr>
              <a:t>ND</a:t>
            </a:r>
            <a:r>
              <a:rPr lang="en-US" sz="933" b="1">
                <a:solidFill>
                  <a:srgbClr val="343434"/>
                </a:solidFill>
              </a:rPr>
              <a:t> DOSE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G: 151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B: 169</a:t>
            </a:r>
          </a:p>
        </p:txBody>
      </p:sp>
      <p:sp>
        <p:nvSpPr>
          <p:cNvPr id="110" name="Freeform 8"/>
          <p:cNvSpPr>
            <a:spLocks noChangeAspect="1"/>
          </p:cNvSpPr>
          <p:nvPr userDrawn="1"/>
        </p:nvSpPr>
        <p:spPr bwMode="auto">
          <a:xfrm>
            <a:off x="5012245" y="424490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0033A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2400">
              <a:solidFill>
                <a:srgbClr val="343434"/>
              </a:solidFill>
            </a:endParaRPr>
          </a:p>
        </p:txBody>
      </p:sp>
      <p:sp>
        <p:nvSpPr>
          <p:cNvPr id="111" name="Rectangle 110"/>
          <p:cNvSpPr/>
          <p:nvPr userDrawn="1"/>
        </p:nvSpPr>
        <p:spPr>
          <a:xfrm>
            <a:off x="5505450" y="4242296"/>
            <a:ext cx="734233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US" sz="933" b="1" err="1">
                <a:solidFill>
                  <a:srgbClr val="343434"/>
                </a:solidFill>
              </a:rPr>
              <a:t>PNEUMO</a:t>
            </a:r>
            <a:endParaRPr lang="en-US" sz="933" b="1">
              <a:solidFill>
                <a:srgbClr val="343434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G: 51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B: 160</a:t>
            </a:r>
          </a:p>
        </p:txBody>
      </p:sp>
      <p:sp>
        <p:nvSpPr>
          <p:cNvPr id="108" name="Freeform 8"/>
          <p:cNvSpPr>
            <a:spLocks noChangeAspect="1"/>
          </p:cNvSpPr>
          <p:nvPr userDrawn="1"/>
        </p:nvSpPr>
        <p:spPr bwMode="auto">
          <a:xfrm>
            <a:off x="6457437" y="424490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D8601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2400">
              <a:solidFill>
                <a:srgbClr val="343434"/>
              </a:solidFill>
            </a:endParaRPr>
          </a:p>
        </p:txBody>
      </p:sp>
      <p:sp>
        <p:nvSpPr>
          <p:cNvPr id="109" name="Rectangle 108"/>
          <p:cNvSpPr/>
          <p:nvPr userDrawn="1"/>
        </p:nvSpPr>
        <p:spPr>
          <a:xfrm>
            <a:off x="6950643" y="4242296"/>
            <a:ext cx="918760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ROTAVIRUS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R: 216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G: 96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B: 24</a:t>
            </a:r>
          </a:p>
        </p:txBody>
      </p:sp>
      <p:sp>
        <p:nvSpPr>
          <p:cNvPr id="106" name="Freeform 8"/>
          <p:cNvSpPr>
            <a:spLocks noChangeAspect="1"/>
          </p:cNvSpPr>
          <p:nvPr userDrawn="1"/>
        </p:nvSpPr>
        <p:spPr bwMode="auto">
          <a:xfrm>
            <a:off x="7869403" y="424490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EAAA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2400">
              <a:solidFill>
                <a:srgbClr val="343434"/>
              </a:solidFill>
            </a:endParaRPr>
          </a:p>
        </p:txBody>
      </p:sp>
      <p:sp>
        <p:nvSpPr>
          <p:cNvPr id="107" name="Rectangle 106"/>
          <p:cNvSpPr/>
          <p:nvPr userDrawn="1"/>
        </p:nvSpPr>
        <p:spPr>
          <a:xfrm>
            <a:off x="8362608" y="4242296"/>
            <a:ext cx="997755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YELLOW</a:t>
            </a:r>
          </a:p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FEVER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R: 234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G: 170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B: 0</a:t>
            </a:r>
          </a:p>
        </p:txBody>
      </p:sp>
      <p:sp>
        <p:nvSpPr>
          <p:cNvPr id="104" name="Freeform 8"/>
          <p:cNvSpPr>
            <a:spLocks noChangeAspect="1"/>
          </p:cNvSpPr>
          <p:nvPr userDrawn="1"/>
        </p:nvSpPr>
        <p:spPr bwMode="auto">
          <a:xfrm>
            <a:off x="9493117" y="424490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7D70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2400">
              <a:solidFill>
                <a:srgbClr val="343434"/>
              </a:solidFill>
            </a:endParaRPr>
          </a:p>
        </p:txBody>
      </p:sp>
      <p:sp>
        <p:nvSpPr>
          <p:cNvPr id="105" name="Rectangle 104"/>
          <p:cNvSpPr/>
          <p:nvPr userDrawn="1"/>
        </p:nvSpPr>
        <p:spPr>
          <a:xfrm>
            <a:off x="9986323" y="4242296"/>
            <a:ext cx="766195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US" sz="933" b="1" err="1">
                <a:solidFill>
                  <a:srgbClr val="343434"/>
                </a:solidFill>
              </a:rPr>
              <a:t>TYPHOÏD</a:t>
            </a:r>
            <a:endParaRPr lang="en-US" sz="933" b="1">
              <a:solidFill>
                <a:srgbClr val="343434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R: 125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G: 112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B: 97</a:t>
            </a:r>
          </a:p>
        </p:txBody>
      </p:sp>
      <p:sp>
        <p:nvSpPr>
          <p:cNvPr id="123" name="Freeform 8"/>
          <p:cNvSpPr>
            <a:spLocks noChangeAspect="1"/>
          </p:cNvSpPr>
          <p:nvPr userDrawn="1"/>
        </p:nvSpPr>
        <p:spPr bwMode="auto">
          <a:xfrm>
            <a:off x="672000" y="3401125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AF5C3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2400">
              <a:solidFill>
                <a:srgbClr val="343434"/>
              </a:solidFill>
            </a:endParaRPr>
          </a:p>
        </p:txBody>
      </p:sp>
      <p:sp>
        <p:nvSpPr>
          <p:cNvPr id="124" name="Rectangle 123"/>
          <p:cNvSpPr/>
          <p:nvPr userDrawn="1"/>
        </p:nvSpPr>
        <p:spPr>
          <a:xfrm>
            <a:off x="1165206" y="3398520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CHOLERA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R: 175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G: 92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B: 55</a:t>
            </a:r>
          </a:p>
        </p:txBody>
      </p:sp>
      <p:sp>
        <p:nvSpPr>
          <p:cNvPr id="121" name="Freeform 8"/>
          <p:cNvSpPr>
            <a:spLocks noChangeAspect="1"/>
          </p:cNvSpPr>
          <p:nvPr userDrawn="1"/>
        </p:nvSpPr>
        <p:spPr bwMode="auto">
          <a:xfrm>
            <a:off x="2117192" y="3401125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D500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2400">
              <a:solidFill>
                <a:srgbClr val="343434"/>
              </a:solidFill>
            </a:endParaRPr>
          </a:p>
        </p:txBody>
      </p:sp>
      <p:sp>
        <p:nvSpPr>
          <p:cNvPr id="122" name="Rectangle 121"/>
          <p:cNvSpPr/>
          <p:nvPr userDrawn="1"/>
        </p:nvSpPr>
        <p:spPr>
          <a:xfrm>
            <a:off x="2610398" y="3398520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US" sz="933" b="1" err="1">
                <a:solidFill>
                  <a:srgbClr val="343434"/>
                </a:solidFill>
              </a:rPr>
              <a:t>HEPB</a:t>
            </a:r>
            <a:endParaRPr lang="en-US" sz="933" b="1">
              <a:solidFill>
                <a:srgbClr val="343434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R: 213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G: 0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B: 50</a:t>
            </a:r>
          </a:p>
        </p:txBody>
      </p:sp>
      <p:sp>
        <p:nvSpPr>
          <p:cNvPr id="119" name="Freeform 8"/>
          <p:cNvSpPr>
            <a:spLocks noChangeAspect="1"/>
          </p:cNvSpPr>
          <p:nvPr userDrawn="1"/>
        </p:nvSpPr>
        <p:spPr bwMode="auto">
          <a:xfrm>
            <a:off x="3529157" y="3401125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F59B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2400">
              <a:solidFill>
                <a:srgbClr val="343434"/>
              </a:solidFill>
            </a:endParaRPr>
          </a:p>
        </p:txBody>
      </p:sp>
      <p:sp>
        <p:nvSpPr>
          <p:cNvPr id="120" name="Rectangle 119"/>
          <p:cNvSpPr/>
          <p:nvPr userDrawn="1"/>
        </p:nvSpPr>
        <p:spPr>
          <a:xfrm>
            <a:off x="4022363" y="3398520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HPV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R: 245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G: 155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B: 187</a:t>
            </a:r>
          </a:p>
        </p:txBody>
      </p:sp>
      <p:sp>
        <p:nvSpPr>
          <p:cNvPr id="126" name="Freeform 8"/>
          <p:cNvSpPr>
            <a:spLocks noChangeAspect="1"/>
          </p:cNvSpPr>
          <p:nvPr userDrawn="1"/>
        </p:nvSpPr>
        <p:spPr bwMode="auto">
          <a:xfrm>
            <a:off x="5012245" y="5110123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64636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2400">
              <a:solidFill>
                <a:srgbClr val="343434"/>
              </a:solidFill>
            </a:endParaRPr>
          </a:p>
        </p:txBody>
      </p:sp>
      <p:sp>
        <p:nvSpPr>
          <p:cNvPr id="127" name="Rectangle 126"/>
          <p:cNvSpPr/>
          <p:nvPr userDrawn="1"/>
        </p:nvSpPr>
        <p:spPr>
          <a:xfrm>
            <a:off x="5505451" y="5107517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RABIES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R: 100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G: 99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B: 99</a:t>
            </a:r>
          </a:p>
        </p:txBody>
      </p:sp>
      <p:sp>
        <p:nvSpPr>
          <p:cNvPr id="137" name="Freeform 8"/>
          <p:cNvSpPr>
            <a:spLocks noChangeAspect="1"/>
          </p:cNvSpPr>
          <p:nvPr userDrawn="1"/>
        </p:nvSpPr>
        <p:spPr bwMode="auto">
          <a:xfrm>
            <a:off x="672000" y="424490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005A7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2400">
              <a:solidFill>
                <a:srgbClr val="343434"/>
              </a:solidFill>
            </a:endParaRPr>
          </a:p>
        </p:txBody>
      </p:sp>
      <p:sp>
        <p:nvSpPr>
          <p:cNvPr id="138" name="Rectangle 137"/>
          <p:cNvSpPr/>
          <p:nvPr userDrawn="1"/>
        </p:nvSpPr>
        <p:spPr>
          <a:xfrm>
            <a:off x="1165205" y="4242296"/>
            <a:ext cx="802336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MEASLES</a:t>
            </a:r>
          </a:p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RUBELLA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G: 90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B: 112</a:t>
            </a:r>
          </a:p>
        </p:txBody>
      </p:sp>
      <p:sp>
        <p:nvSpPr>
          <p:cNvPr id="135" name="Freeform 8"/>
          <p:cNvSpPr>
            <a:spLocks noChangeAspect="1"/>
          </p:cNvSpPr>
          <p:nvPr userDrawn="1"/>
        </p:nvSpPr>
        <p:spPr bwMode="auto">
          <a:xfrm>
            <a:off x="2117192" y="424490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00963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2400">
              <a:solidFill>
                <a:srgbClr val="343434"/>
              </a:solidFill>
            </a:endParaRPr>
          </a:p>
        </p:txBody>
      </p:sp>
      <p:sp>
        <p:nvSpPr>
          <p:cNvPr id="136" name="Rectangle 135"/>
          <p:cNvSpPr/>
          <p:nvPr userDrawn="1"/>
        </p:nvSpPr>
        <p:spPr>
          <a:xfrm>
            <a:off x="2610397" y="4242296"/>
            <a:ext cx="918760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MENINGITIS</a:t>
            </a:r>
          </a:p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A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G: 150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B: 57</a:t>
            </a:r>
          </a:p>
        </p:txBody>
      </p:sp>
      <p:sp>
        <p:nvSpPr>
          <p:cNvPr id="133" name="Freeform 8"/>
          <p:cNvSpPr>
            <a:spLocks noChangeAspect="1"/>
          </p:cNvSpPr>
          <p:nvPr userDrawn="1"/>
        </p:nvSpPr>
        <p:spPr bwMode="auto">
          <a:xfrm>
            <a:off x="3529157" y="424490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65327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2400">
              <a:solidFill>
                <a:srgbClr val="343434"/>
              </a:solidFill>
            </a:endParaRPr>
          </a:p>
        </p:txBody>
      </p:sp>
      <p:sp>
        <p:nvSpPr>
          <p:cNvPr id="134" name="Rectangle 133"/>
          <p:cNvSpPr/>
          <p:nvPr userDrawn="1"/>
        </p:nvSpPr>
        <p:spPr>
          <a:xfrm>
            <a:off x="4022363" y="4242296"/>
            <a:ext cx="989883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PENTA</a:t>
            </a:r>
          </a:p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DTP–</a:t>
            </a:r>
            <a:r>
              <a:rPr lang="en-US" sz="933" b="1" err="1">
                <a:solidFill>
                  <a:srgbClr val="343434"/>
                </a:solidFill>
              </a:rPr>
              <a:t>HEP</a:t>
            </a:r>
            <a:r>
              <a:rPr lang="en-US" sz="933" b="1">
                <a:solidFill>
                  <a:srgbClr val="343434"/>
                </a:solidFill>
              </a:rPr>
              <a:t>-HIB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R: 101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G: 50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B: 121</a:t>
            </a:r>
          </a:p>
        </p:txBody>
      </p:sp>
      <p:sp>
        <p:nvSpPr>
          <p:cNvPr id="149" name="Freeform 8"/>
          <p:cNvSpPr>
            <a:spLocks noChangeAspect="1"/>
          </p:cNvSpPr>
          <p:nvPr userDrawn="1"/>
        </p:nvSpPr>
        <p:spPr bwMode="auto">
          <a:xfrm>
            <a:off x="672000" y="5110123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C6C6C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2400">
              <a:solidFill>
                <a:srgbClr val="343434"/>
              </a:solidFill>
            </a:endParaRPr>
          </a:p>
        </p:txBody>
      </p:sp>
      <p:sp>
        <p:nvSpPr>
          <p:cNvPr id="150" name="Rectangle 149"/>
          <p:cNvSpPr/>
          <p:nvPr userDrawn="1"/>
        </p:nvSpPr>
        <p:spPr>
          <a:xfrm>
            <a:off x="1165205" y="5107517"/>
            <a:ext cx="802336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DENGUE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R: 198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G: 198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B: 198</a:t>
            </a:r>
          </a:p>
        </p:txBody>
      </p:sp>
      <p:sp>
        <p:nvSpPr>
          <p:cNvPr id="147" name="Freeform 8"/>
          <p:cNvSpPr>
            <a:spLocks noChangeAspect="1"/>
          </p:cNvSpPr>
          <p:nvPr userDrawn="1"/>
        </p:nvSpPr>
        <p:spPr bwMode="auto">
          <a:xfrm>
            <a:off x="2117192" y="5110123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A8A8A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2400">
              <a:solidFill>
                <a:srgbClr val="343434"/>
              </a:solidFill>
            </a:endParaRPr>
          </a:p>
        </p:txBody>
      </p:sp>
      <p:sp>
        <p:nvSpPr>
          <p:cNvPr id="148" name="Rectangle 147"/>
          <p:cNvSpPr/>
          <p:nvPr userDrawn="1"/>
        </p:nvSpPr>
        <p:spPr>
          <a:xfrm>
            <a:off x="2610398" y="5107517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MALARIA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R: 168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G: 168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B: 167</a:t>
            </a:r>
          </a:p>
        </p:txBody>
      </p:sp>
      <p:sp>
        <p:nvSpPr>
          <p:cNvPr id="145" name="Freeform 8"/>
          <p:cNvSpPr>
            <a:spLocks noChangeAspect="1"/>
          </p:cNvSpPr>
          <p:nvPr userDrawn="1"/>
        </p:nvSpPr>
        <p:spPr bwMode="auto">
          <a:xfrm>
            <a:off x="3529157" y="5110123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87878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2400">
              <a:solidFill>
                <a:srgbClr val="343434"/>
              </a:solidFill>
            </a:endParaRPr>
          </a:p>
        </p:txBody>
      </p:sp>
      <p:sp>
        <p:nvSpPr>
          <p:cNvPr id="146" name="Rectangle 145"/>
          <p:cNvSpPr/>
          <p:nvPr userDrawn="1"/>
        </p:nvSpPr>
        <p:spPr>
          <a:xfrm>
            <a:off x="4022363" y="5107517"/>
            <a:ext cx="989883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MATERNAL</a:t>
            </a:r>
          </a:p>
          <a:p>
            <a:pPr>
              <a:lnSpc>
                <a:spcPct val="90000"/>
              </a:lnSpc>
            </a:pPr>
            <a:r>
              <a:rPr lang="en-US" sz="933" b="1">
                <a:solidFill>
                  <a:srgbClr val="343434"/>
                </a:solidFill>
              </a:rPr>
              <a:t>FLU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R: 135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G: 135</a:t>
            </a:r>
          </a:p>
          <a:p>
            <a:pPr>
              <a:lnSpc>
                <a:spcPct val="90000"/>
              </a:lnSpc>
            </a:pPr>
            <a:r>
              <a:rPr lang="en-US" sz="933">
                <a:solidFill>
                  <a:srgbClr val="343434"/>
                </a:solidFill>
              </a:rPr>
              <a:t>B: 135</a:t>
            </a:r>
          </a:p>
        </p:txBody>
      </p:sp>
      <p:pic>
        <p:nvPicPr>
          <p:cNvPr id="60" name="Picture 59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5836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20449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5CB9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681391" y="4396251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Arial" panose="020B0604020202020204" pitchFamily="34" charset="0"/>
              </a:rPr>
              <a:t>VIS Project Team Meeting_28 Feb_vupdated.pptx</a:t>
            </a:r>
            <a:endParaRPr lang="en-GB" sz="700">
              <a:solidFill>
                <a:prstClr val="white">
                  <a:lumMod val="50000"/>
                </a:prstClr>
              </a:solidFill>
              <a:sym typeface="Arial" panose="020B0604020202020204" pitchFamily="34" charset="0"/>
            </a:endParaRPr>
          </a:p>
        </p:txBody>
      </p:sp>
      <p:grpSp>
        <p:nvGrpSpPr>
          <p:cNvPr id="4" name="Group 3"/>
          <p:cNvGrpSpPr/>
          <p:nvPr userDrawn="1"/>
        </p:nvGrpSpPr>
        <p:grpSpPr>
          <a:xfrm>
            <a:off x="9994838" y="5956300"/>
            <a:ext cx="2190397" cy="662213"/>
            <a:chOff x="10082115" y="5982686"/>
            <a:chExt cx="2103120" cy="635827"/>
          </a:xfrm>
        </p:grpSpPr>
        <p:sp>
          <p:nvSpPr>
            <p:cNvPr id="12" name="Rectangle 11"/>
            <p:cNvSpPr/>
            <p:nvPr userDrawn="1"/>
          </p:nvSpPr>
          <p:spPr bwMode="gray">
            <a:xfrm>
              <a:off x="10082115" y="5982686"/>
              <a:ext cx="2103120" cy="189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7" name="Image 11"/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6049" b="16834"/>
            <a:stretch/>
          </p:blipFill>
          <p:spPr bwMode="gray">
            <a:xfrm>
              <a:off x="10385234" y="6110513"/>
              <a:ext cx="1800000" cy="50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94395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Beige Title slide w/ editable photo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12192000" cy="6877051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ctr"/>
            <a:endParaRPr lang="en-US"/>
          </a:p>
        </p:txBody>
      </p:sp>
      <p:sp>
        <p:nvSpPr>
          <p:cNvPr id="7" name="Rectangle 6"/>
          <p:cNvSpPr>
            <a:spLocks noChangeAspect="1"/>
          </p:cNvSpPr>
          <p:nvPr/>
        </p:nvSpPr>
        <p:spPr>
          <a:xfrm>
            <a:off x="8312150" y="1"/>
            <a:ext cx="2927350" cy="14562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Freeform: Shape 7"/>
          <p:cNvSpPr>
            <a:spLocks noChangeAspect="1"/>
          </p:cNvSpPr>
          <p:nvPr/>
        </p:nvSpPr>
        <p:spPr>
          <a:xfrm>
            <a:off x="8312150" y="5391153"/>
            <a:ext cx="2927350" cy="1466850"/>
          </a:xfrm>
          <a:custGeom>
            <a:avLst/>
            <a:gdLst>
              <a:gd name="connsiteX0" fmla="*/ 1097756 w 2195512"/>
              <a:gd name="connsiteY0" fmla="*/ 0 h 1100137"/>
              <a:gd name="connsiteX1" fmla="*/ 2195512 w 2195512"/>
              <a:gd name="connsiteY1" fmla="*/ 1096963 h 1100137"/>
              <a:gd name="connsiteX2" fmla="*/ 2195352 w 2195512"/>
              <a:gd name="connsiteY2" fmla="*/ 1100137 h 1100137"/>
              <a:gd name="connsiteX3" fmla="*/ 161 w 2195512"/>
              <a:gd name="connsiteY3" fmla="*/ 1100137 h 1100137"/>
              <a:gd name="connsiteX4" fmla="*/ 0 w 2195512"/>
              <a:gd name="connsiteY4" fmla="*/ 1096963 h 1100137"/>
              <a:gd name="connsiteX5" fmla="*/ 1097756 w 2195512"/>
              <a:gd name="connsiteY5" fmla="*/ 0 h 110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95512" h="1100137">
                <a:moveTo>
                  <a:pt x="1097756" y="0"/>
                </a:moveTo>
                <a:cubicBezTo>
                  <a:pt x="1704030" y="0"/>
                  <a:pt x="2195512" y="491127"/>
                  <a:pt x="2195512" y="1096963"/>
                </a:cubicBezTo>
                <a:lnTo>
                  <a:pt x="2195352" y="1100137"/>
                </a:lnTo>
                <a:lnTo>
                  <a:pt x="161" y="1100137"/>
                </a:lnTo>
                <a:lnTo>
                  <a:pt x="0" y="1096963"/>
                </a:lnTo>
                <a:cubicBezTo>
                  <a:pt x="0" y="491127"/>
                  <a:pt x="491482" y="0"/>
                  <a:pt x="109775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9" name="Freeform: Shape 8"/>
          <p:cNvSpPr>
            <a:spLocks noChangeAspect="1"/>
          </p:cNvSpPr>
          <p:nvPr/>
        </p:nvSpPr>
        <p:spPr>
          <a:xfrm>
            <a:off x="8335645" y="1755503"/>
            <a:ext cx="2880360" cy="3336415"/>
          </a:xfrm>
          <a:custGeom>
            <a:avLst/>
            <a:gdLst>
              <a:gd name="connsiteX0" fmla="*/ 1097281 w 2194562"/>
              <a:gd name="connsiteY0" fmla="*/ 0 h 2542032"/>
              <a:gd name="connsiteX1" fmla="*/ 2194561 w 2194562"/>
              <a:gd name="connsiteY1" fmla="*/ 548640 h 2542032"/>
              <a:gd name="connsiteX2" fmla="*/ 2194562 w 2194562"/>
              <a:gd name="connsiteY2" fmla="*/ 548640 h 2542032"/>
              <a:gd name="connsiteX3" fmla="*/ 2194562 w 2194562"/>
              <a:gd name="connsiteY3" fmla="*/ 1993392 h 2542032"/>
              <a:gd name="connsiteX4" fmla="*/ 2194560 w 2194562"/>
              <a:gd name="connsiteY4" fmla="*/ 1993392 h 2542032"/>
              <a:gd name="connsiteX5" fmla="*/ 1097280 w 2194562"/>
              <a:gd name="connsiteY5" fmla="*/ 2542032 h 2542032"/>
              <a:gd name="connsiteX6" fmla="*/ 0 w 2194562"/>
              <a:gd name="connsiteY6" fmla="*/ 1993392 h 2542032"/>
              <a:gd name="connsiteX7" fmla="*/ 1 w 2194562"/>
              <a:gd name="connsiteY7" fmla="*/ 1993392 h 2542032"/>
              <a:gd name="connsiteX8" fmla="*/ 1 w 2194562"/>
              <a:gd name="connsiteY8" fmla="*/ 548640 h 2542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94562" h="2542032">
                <a:moveTo>
                  <a:pt x="1097281" y="0"/>
                </a:moveTo>
                <a:lnTo>
                  <a:pt x="2194561" y="548640"/>
                </a:lnTo>
                <a:lnTo>
                  <a:pt x="2194562" y="548640"/>
                </a:lnTo>
                <a:lnTo>
                  <a:pt x="2194562" y="1993392"/>
                </a:lnTo>
                <a:lnTo>
                  <a:pt x="2194560" y="1993392"/>
                </a:lnTo>
                <a:lnTo>
                  <a:pt x="1097280" y="2542032"/>
                </a:lnTo>
                <a:lnTo>
                  <a:pt x="0" y="1993392"/>
                </a:lnTo>
                <a:lnTo>
                  <a:pt x="1" y="1993392"/>
                </a:lnTo>
                <a:lnTo>
                  <a:pt x="1" y="548640"/>
                </a:lnTo>
                <a:close/>
              </a:path>
            </a:pathLst>
          </a:custGeom>
          <a:noFill/>
          <a:ln w="15875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11921553" y="208248"/>
            <a:ext cx="147432" cy="3065893"/>
          </a:xfrm>
          <a:prstGeom prst="rect">
            <a:avLst/>
          </a:prstGeom>
        </p:spPr>
        <p:txBody>
          <a:bodyPr vert="vert270" lIns="0" tIns="0" rIns="0" bIns="0" anchor="t" anchorCtr="0"/>
          <a:lstStyle>
            <a:lvl1pPr algn="r">
              <a:defRPr sz="6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Photo: Nam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0" y="5875631"/>
            <a:ext cx="994416" cy="418605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762000" y="593931"/>
            <a:ext cx="2540000" cy="214988"/>
          </a:xfrm>
          <a:prstGeom prst="rect">
            <a:avLst/>
          </a:prstGeom>
        </p:spPr>
        <p:txBody>
          <a:bodyPr lIns="0" tIns="0" rIns="0" bIns="0"/>
          <a:lstStyle>
            <a:lvl1pPr algn="l">
              <a:spcBef>
                <a:spcPts val="0"/>
              </a:spcBef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onth Day, Year – Arial bold 9 pt. black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62000" y="4600880"/>
            <a:ext cx="5334000" cy="647700"/>
          </a:xfrm>
          <a:prstGeom prst="rect">
            <a:avLst/>
          </a:prstGeom>
        </p:spPr>
        <p:txBody>
          <a:bodyPr lIns="0" tIns="0" rIns="0" bIns="0"/>
          <a:lstStyle>
            <a:lvl1pPr algn="l">
              <a:spcBef>
                <a:spcPts val="0"/>
              </a:spcBef>
              <a:spcAft>
                <a:spcPts val="0"/>
              </a:spcAft>
              <a:defRPr sz="1100" baseline="0">
                <a:solidFill>
                  <a:schemeClr val="tx1"/>
                </a:solidFill>
                <a:latin typeface="+mn-lt"/>
              </a:defRPr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</a:lstStyle>
          <a:p>
            <a:pPr lvl="0"/>
            <a:r>
              <a:rPr lang="en-US"/>
              <a:t>Presenter Name - Arial 11 pt. black</a:t>
            </a:r>
            <a:br>
              <a:rPr lang="en-US"/>
            </a:br>
            <a:r>
              <a:rPr lang="en-US"/>
              <a:t>Presenter Title – Arial 11 pt. black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62001" y="2019300"/>
            <a:ext cx="5333999" cy="144780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3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 option 1 – Arial 36 pt. black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762000" y="3650041"/>
            <a:ext cx="5334000" cy="557213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– Arial 16 pt. black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9773055" y="1854740"/>
            <a:ext cx="0" cy="3138792"/>
          </a:xfrm>
          <a:prstGeom prst="line">
            <a:avLst/>
          </a:prstGeom>
          <a:ln w="12700" cap="flat" cmpd="sng" algn="ctr">
            <a:solidFill>
              <a:schemeClr val="accent1"/>
            </a:solidFill>
            <a:prstDash val="sysDot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9777572" y="2165816"/>
            <a:ext cx="82105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i="0" kern="1200" baseline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+mn-cs"/>
              </a:rPr>
              <a:t>3.71” h </a:t>
            </a:r>
            <a:endParaRPr lang="en-US" sz="1400">
              <a:solidFill>
                <a:schemeClr val="accent1"/>
              </a:solidFill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 flipH="1">
            <a:off x="8398213" y="3400223"/>
            <a:ext cx="2749685" cy="47827"/>
          </a:xfrm>
          <a:prstGeom prst="line">
            <a:avLst/>
          </a:prstGeom>
          <a:ln w="12700" cap="flat" cmpd="sng" algn="ctr">
            <a:solidFill>
              <a:schemeClr val="accent1"/>
            </a:solidFill>
            <a:prstDash val="sysDot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10340501" y="3400223"/>
            <a:ext cx="72167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i="0" kern="1200" baseline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+mn-cs"/>
              </a:rPr>
              <a:t>3.2” w 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20" name="SmartArt Placeholder 11"/>
          <p:cNvSpPr>
            <a:spLocks noGrp="1"/>
          </p:cNvSpPr>
          <p:nvPr>
            <p:ph type="dgm" sz="quarter" idx="19"/>
          </p:nvPr>
        </p:nvSpPr>
        <p:spPr>
          <a:xfrm rot="16200000">
            <a:off x="8061175" y="1960670"/>
            <a:ext cx="3392424" cy="2926080"/>
          </a:xfrm>
          <a:prstGeom prst="hexagon">
            <a:avLst/>
          </a:prstGeom>
          <a:blipFill dpi="0" rotWithShape="0">
            <a:blip r:embed="rId3"/>
            <a:srcRect/>
            <a:stretch>
              <a:fillRect l="-45837" r="-8745"/>
            </a:stretch>
          </a:blipFill>
        </p:spPr>
        <p:txBody>
          <a:bodyPr vert="vert" anchor="ctr" anchorCtr="0"/>
          <a:lstStyle>
            <a:lvl1pPr algn="ctr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SmartArt graphic</a:t>
            </a:r>
          </a:p>
        </p:txBody>
      </p:sp>
    </p:spTree>
    <p:extLst>
      <p:ext uri="{BB962C8B-B14F-4D97-AF65-F5344CB8AC3E}">
        <p14:creationId xmlns:p14="http://schemas.microsoft.com/office/powerpoint/2010/main" val="1871120859"/>
      </p:ext>
    </p:extLst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Beige Title slide w/ sh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-5291"/>
            <a:ext cx="12192000" cy="685800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0" y="5875631"/>
            <a:ext cx="994416" cy="418605"/>
          </a:xfrm>
          <a:prstGeom prst="rect">
            <a:avLst/>
          </a:prstGeom>
        </p:spPr>
      </p:pic>
      <p:sp>
        <p:nvSpPr>
          <p:cNvPr id="8" name="Rectangle 7"/>
          <p:cNvSpPr>
            <a:spLocks noChangeAspect="1"/>
          </p:cNvSpPr>
          <p:nvPr/>
        </p:nvSpPr>
        <p:spPr>
          <a:xfrm>
            <a:off x="8312150" y="1"/>
            <a:ext cx="2927350" cy="1456267"/>
          </a:xfrm>
          <a:prstGeom prst="rect">
            <a:avLst/>
          </a:prstGeom>
          <a:solidFill>
            <a:srgbClr val="F84F4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Freeform: Shape 8"/>
          <p:cNvSpPr>
            <a:spLocks noChangeAspect="1"/>
          </p:cNvSpPr>
          <p:nvPr/>
        </p:nvSpPr>
        <p:spPr>
          <a:xfrm>
            <a:off x="8312151" y="1760840"/>
            <a:ext cx="2926083" cy="3389377"/>
          </a:xfrm>
          <a:custGeom>
            <a:avLst/>
            <a:gdLst>
              <a:gd name="connsiteX0" fmla="*/ 1097281 w 2194562"/>
              <a:gd name="connsiteY0" fmla="*/ 0 h 2542032"/>
              <a:gd name="connsiteX1" fmla="*/ 2194561 w 2194562"/>
              <a:gd name="connsiteY1" fmla="*/ 548640 h 2542032"/>
              <a:gd name="connsiteX2" fmla="*/ 2194562 w 2194562"/>
              <a:gd name="connsiteY2" fmla="*/ 548640 h 2542032"/>
              <a:gd name="connsiteX3" fmla="*/ 2194562 w 2194562"/>
              <a:gd name="connsiteY3" fmla="*/ 1993392 h 2542032"/>
              <a:gd name="connsiteX4" fmla="*/ 2194560 w 2194562"/>
              <a:gd name="connsiteY4" fmla="*/ 1993392 h 2542032"/>
              <a:gd name="connsiteX5" fmla="*/ 1097280 w 2194562"/>
              <a:gd name="connsiteY5" fmla="*/ 2542032 h 2542032"/>
              <a:gd name="connsiteX6" fmla="*/ 0 w 2194562"/>
              <a:gd name="connsiteY6" fmla="*/ 1993392 h 2542032"/>
              <a:gd name="connsiteX7" fmla="*/ 1 w 2194562"/>
              <a:gd name="connsiteY7" fmla="*/ 1993392 h 2542032"/>
              <a:gd name="connsiteX8" fmla="*/ 1 w 2194562"/>
              <a:gd name="connsiteY8" fmla="*/ 548640 h 2542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94562" h="2542032">
                <a:moveTo>
                  <a:pt x="1097281" y="0"/>
                </a:moveTo>
                <a:lnTo>
                  <a:pt x="2194561" y="548640"/>
                </a:lnTo>
                <a:lnTo>
                  <a:pt x="2194562" y="548640"/>
                </a:lnTo>
                <a:lnTo>
                  <a:pt x="2194562" y="1993392"/>
                </a:lnTo>
                <a:lnTo>
                  <a:pt x="2194560" y="1993392"/>
                </a:lnTo>
                <a:lnTo>
                  <a:pt x="1097280" y="2542032"/>
                </a:lnTo>
                <a:lnTo>
                  <a:pt x="0" y="1993392"/>
                </a:lnTo>
                <a:lnTo>
                  <a:pt x="1" y="1993392"/>
                </a:lnTo>
                <a:lnTo>
                  <a:pt x="1" y="548640"/>
                </a:lnTo>
                <a:close/>
              </a:path>
            </a:pathLst>
          </a:custGeom>
          <a:solidFill>
            <a:srgbClr val="F84F4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/>
          <p:cNvSpPr>
            <a:spLocks noChangeAspect="1"/>
          </p:cNvSpPr>
          <p:nvPr/>
        </p:nvSpPr>
        <p:spPr>
          <a:xfrm>
            <a:off x="8312150" y="5391153"/>
            <a:ext cx="2927350" cy="1466850"/>
          </a:xfrm>
          <a:custGeom>
            <a:avLst/>
            <a:gdLst>
              <a:gd name="connsiteX0" fmla="*/ 1097756 w 2195512"/>
              <a:gd name="connsiteY0" fmla="*/ 0 h 1100137"/>
              <a:gd name="connsiteX1" fmla="*/ 2195512 w 2195512"/>
              <a:gd name="connsiteY1" fmla="*/ 1096963 h 1100137"/>
              <a:gd name="connsiteX2" fmla="*/ 2195352 w 2195512"/>
              <a:gd name="connsiteY2" fmla="*/ 1100137 h 1100137"/>
              <a:gd name="connsiteX3" fmla="*/ 161 w 2195512"/>
              <a:gd name="connsiteY3" fmla="*/ 1100137 h 1100137"/>
              <a:gd name="connsiteX4" fmla="*/ 0 w 2195512"/>
              <a:gd name="connsiteY4" fmla="*/ 1096963 h 1100137"/>
              <a:gd name="connsiteX5" fmla="*/ 1097756 w 2195512"/>
              <a:gd name="connsiteY5" fmla="*/ 0 h 110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95512" h="1100137">
                <a:moveTo>
                  <a:pt x="1097756" y="0"/>
                </a:moveTo>
                <a:cubicBezTo>
                  <a:pt x="1704030" y="0"/>
                  <a:pt x="2195512" y="491127"/>
                  <a:pt x="2195512" y="1096963"/>
                </a:cubicBezTo>
                <a:lnTo>
                  <a:pt x="2195352" y="1100137"/>
                </a:lnTo>
                <a:lnTo>
                  <a:pt x="161" y="1100137"/>
                </a:lnTo>
                <a:lnTo>
                  <a:pt x="0" y="1096963"/>
                </a:lnTo>
                <a:cubicBezTo>
                  <a:pt x="0" y="491127"/>
                  <a:pt x="491482" y="0"/>
                  <a:pt x="1097756" y="0"/>
                </a:cubicBezTo>
                <a:close/>
              </a:path>
            </a:pathLst>
          </a:custGeom>
          <a:solidFill>
            <a:srgbClr val="F84F4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593931"/>
            <a:ext cx="2540000" cy="214988"/>
          </a:xfrm>
          <a:prstGeom prst="rect">
            <a:avLst/>
          </a:prstGeom>
        </p:spPr>
        <p:txBody>
          <a:bodyPr lIns="0" tIns="0" rIns="0" bIns="0"/>
          <a:lstStyle>
            <a:lvl1pPr algn="l">
              <a:spcBef>
                <a:spcPts val="0"/>
              </a:spcBef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onth Day, Year – Arial bold 9 pt. black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62000" y="4600880"/>
            <a:ext cx="5334000" cy="6477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100" baseline="0">
                <a:solidFill>
                  <a:schemeClr val="tx1"/>
                </a:solidFill>
                <a:latin typeface="+mn-lt"/>
              </a:defRPr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</a:lstStyle>
          <a:p>
            <a:pPr lvl="0"/>
            <a:r>
              <a:rPr lang="en-US"/>
              <a:t>Presenter Name - Arial 11 pt. black</a:t>
            </a:r>
            <a:br>
              <a:rPr lang="en-US"/>
            </a:br>
            <a:r>
              <a:rPr lang="en-US"/>
              <a:t>Presenter Title – Arial 11 pt. black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762000" y="2185988"/>
            <a:ext cx="5333999" cy="1281113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>
              <a:defRPr sz="3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 option 1 – Arial 36 pt. black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761999" y="3650041"/>
            <a:ext cx="5333999" cy="557213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– Arial 16 pt. black</a:t>
            </a:r>
          </a:p>
        </p:txBody>
      </p:sp>
    </p:spTree>
    <p:extLst>
      <p:ext uri="{BB962C8B-B14F-4D97-AF65-F5344CB8AC3E}">
        <p14:creationId xmlns:p14="http://schemas.microsoft.com/office/powerpoint/2010/main" val="1315271206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36D7151-EE44-6D41-A861-17BC5B8F00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115819 w 6096001"/>
              <a:gd name="connsiteY0" fmla="*/ 1901215 h 6858000"/>
              <a:gd name="connsiteX1" fmla="*/ 2096475 w 6096001"/>
              <a:gd name="connsiteY1" fmla="*/ 2469051 h 6858000"/>
              <a:gd name="connsiteX2" fmla="*/ 2517092 w 6096001"/>
              <a:gd name="connsiteY2" fmla="*/ 2737003 h 6858000"/>
              <a:gd name="connsiteX3" fmla="*/ 3061016 w 6096001"/>
              <a:gd name="connsiteY3" fmla="*/ 2401022 h 6858000"/>
              <a:gd name="connsiteX4" fmla="*/ 3455600 w 6096001"/>
              <a:gd name="connsiteY4" fmla="*/ 2732838 h 6858000"/>
              <a:gd name="connsiteX5" fmla="*/ 2725345 w 6096001"/>
              <a:gd name="connsiteY5" fmla="*/ 3202101 h 6858000"/>
              <a:gd name="connsiteX6" fmla="*/ 2725345 w 6096001"/>
              <a:gd name="connsiteY6" fmla="*/ 3663034 h 6858000"/>
              <a:gd name="connsiteX7" fmla="*/ 3570688 w 6096001"/>
              <a:gd name="connsiteY7" fmla="*/ 4110083 h 6858000"/>
              <a:gd name="connsiteX8" fmla="*/ 3044575 w 6096001"/>
              <a:gd name="connsiteY8" fmla="*/ 4544637 h 6858000"/>
              <a:gd name="connsiteX9" fmla="*/ 2300618 w 6096001"/>
              <a:gd name="connsiteY9" fmla="*/ 4273909 h 6858000"/>
              <a:gd name="connsiteX10" fmla="*/ 1977278 w 6096001"/>
              <a:gd name="connsiteY10" fmla="*/ 4712628 h 6858000"/>
              <a:gd name="connsiteX11" fmla="*/ 1978648 w 6096001"/>
              <a:gd name="connsiteY11" fmla="*/ 4711240 h 6858000"/>
              <a:gd name="connsiteX12" fmla="*/ 3048685 w 6096001"/>
              <a:gd name="connsiteY12" fmla="*/ 5043056 h 6858000"/>
              <a:gd name="connsiteX13" fmla="*/ 4118722 w 6096001"/>
              <a:gd name="connsiteY13" fmla="*/ 4126744 h 6858000"/>
              <a:gd name="connsiteX14" fmla="*/ 3455600 w 6096001"/>
              <a:gd name="connsiteY14" fmla="*/ 3360373 h 6858000"/>
              <a:gd name="connsiteX15" fmla="*/ 3999524 w 6096001"/>
              <a:gd name="connsiteY15" fmla="*/ 2628712 h 6858000"/>
              <a:gd name="connsiteX16" fmla="*/ 3115819 w 6096001"/>
              <a:gd name="connsiteY16" fmla="*/ 1901215 h 6858000"/>
              <a:gd name="connsiteX17" fmla="*/ 0 w 6096001"/>
              <a:gd name="connsiteY17" fmla="*/ 0 h 6858000"/>
              <a:gd name="connsiteX18" fmla="*/ 5214397 w 6096001"/>
              <a:gd name="connsiteY18" fmla="*/ 0 h 6858000"/>
              <a:gd name="connsiteX19" fmla="*/ 6096001 w 6096001"/>
              <a:gd name="connsiteY19" fmla="*/ 881604 h 6858000"/>
              <a:gd name="connsiteX20" fmla="*/ 6096001 w 6096001"/>
              <a:gd name="connsiteY20" fmla="*/ 6858000 h 6858000"/>
              <a:gd name="connsiteX21" fmla="*/ 0 w 6096001"/>
              <a:gd name="connsiteY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096001" h="6858000">
                <a:moveTo>
                  <a:pt x="3115819" y="1901215"/>
                </a:moveTo>
                <a:cubicBezTo>
                  <a:pt x="2614368" y="1901215"/>
                  <a:pt x="2278697" y="2128905"/>
                  <a:pt x="2096475" y="2469051"/>
                </a:cubicBezTo>
                <a:lnTo>
                  <a:pt x="2517092" y="2737003"/>
                </a:lnTo>
                <a:cubicBezTo>
                  <a:pt x="2602037" y="2581508"/>
                  <a:pt x="2780148" y="2401022"/>
                  <a:pt x="3061016" y="2401022"/>
                </a:cubicBezTo>
                <a:cubicBezTo>
                  <a:pt x="3302151" y="2401022"/>
                  <a:pt x="3455600" y="2534304"/>
                  <a:pt x="3455600" y="2732838"/>
                </a:cubicBezTo>
                <a:cubicBezTo>
                  <a:pt x="3455600" y="2964693"/>
                  <a:pt x="3285710" y="3197936"/>
                  <a:pt x="2725345" y="3202101"/>
                </a:cubicBezTo>
                <a:lnTo>
                  <a:pt x="2725345" y="3663034"/>
                </a:lnTo>
                <a:cubicBezTo>
                  <a:pt x="3303521" y="3663034"/>
                  <a:pt x="3570688" y="3825471"/>
                  <a:pt x="3570688" y="4110083"/>
                </a:cubicBezTo>
                <a:cubicBezTo>
                  <a:pt x="3570688" y="4372481"/>
                  <a:pt x="3384356" y="4544637"/>
                  <a:pt x="3044575" y="4544637"/>
                </a:cubicBezTo>
                <a:cubicBezTo>
                  <a:pt x="2737676" y="4544637"/>
                  <a:pt x="2504761" y="4433570"/>
                  <a:pt x="2300618" y="4273909"/>
                </a:cubicBezTo>
                <a:lnTo>
                  <a:pt x="1977278" y="4712628"/>
                </a:lnTo>
                <a:lnTo>
                  <a:pt x="1978648" y="4711240"/>
                </a:lnTo>
                <a:cubicBezTo>
                  <a:pt x="2271846" y="4926434"/>
                  <a:pt x="2581486" y="5043056"/>
                  <a:pt x="3048685" y="5043056"/>
                </a:cubicBezTo>
                <a:cubicBezTo>
                  <a:pt x="3698106" y="5043056"/>
                  <a:pt x="4118722" y="4659870"/>
                  <a:pt x="4118722" y="4126744"/>
                </a:cubicBezTo>
                <a:cubicBezTo>
                  <a:pt x="4118722" y="3708850"/>
                  <a:pt x="3863886" y="3468665"/>
                  <a:pt x="3455600" y="3360373"/>
                </a:cubicBezTo>
                <a:cubicBezTo>
                  <a:pt x="3791271" y="3239587"/>
                  <a:pt x="3999524" y="2999402"/>
                  <a:pt x="3999524" y="2628712"/>
                </a:cubicBezTo>
                <a:cubicBezTo>
                  <a:pt x="3999524" y="2206653"/>
                  <a:pt x="3617271" y="1901215"/>
                  <a:pt x="3115819" y="1901215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B2461434-5D17-DC5F-DC1A-E69D4E2BBC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63FD04FF-C6D3-AE64-9C91-6E3CEBDB6B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77197271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Red Title slide w/ editable photo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-5291"/>
            <a:ext cx="12192000" cy="685800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0" y="5894337"/>
            <a:ext cx="994416" cy="381192"/>
          </a:xfrm>
          <a:prstGeom prst="rect">
            <a:avLst/>
          </a:prstGeom>
        </p:spPr>
      </p:pic>
      <p:sp>
        <p:nvSpPr>
          <p:cNvPr id="8" name="Rectangle 7"/>
          <p:cNvSpPr>
            <a:spLocks noChangeAspect="1"/>
          </p:cNvSpPr>
          <p:nvPr/>
        </p:nvSpPr>
        <p:spPr>
          <a:xfrm>
            <a:off x="8312150" y="1"/>
            <a:ext cx="2927350" cy="145626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Freeform: Shape 8"/>
          <p:cNvSpPr>
            <a:spLocks noChangeAspect="1"/>
          </p:cNvSpPr>
          <p:nvPr/>
        </p:nvSpPr>
        <p:spPr>
          <a:xfrm>
            <a:off x="8312150" y="5391153"/>
            <a:ext cx="2927350" cy="1466850"/>
          </a:xfrm>
          <a:custGeom>
            <a:avLst/>
            <a:gdLst>
              <a:gd name="connsiteX0" fmla="*/ 1097756 w 2195512"/>
              <a:gd name="connsiteY0" fmla="*/ 0 h 1100137"/>
              <a:gd name="connsiteX1" fmla="*/ 2195512 w 2195512"/>
              <a:gd name="connsiteY1" fmla="*/ 1096963 h 1100137"/>
              <a:gd name="connsiteX2" fmla="*/ 2195352 w 2195512"/>
              <a:gd name="connsiteY2" fmla="*/ 1100137 h 1100137"/>
              <a:gd name="connsiteX3" fmla="*/ 161 w 2195512"/>
              <a:gd name="connsiteY3" fmla="*/ 1100137 h 1100137"/>
              <a:gd name="connsiteX4" fmla="*/ 0 w 2195512"/>
              <a:gd name="connsiteY4" fmla="*/ 1096963 h 1100137"/>
              <a:gd name="connsiteX5" fmla="*/ 1097756 w 2195512"/>
              <a:gd name="connsiteY5" fmla="*/ 0 h 110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95512" h="1100137">
                <a:moveTo>
                  <a:pt x="1097756" y="0"/>
                </a:moveTo>
                <a:cubicBezTo>
                  <a:pt x="1704030" y="0"/>
                  <a:pt x="2195512" y="491127"/>
                  <a:pt x="2195512" y="1096963"/>
                </a:cubicBezTo>
                <a:lnTo>
                  <a:pt x="2195352" y="1100137"/>
                </a:lnTo>
                <a:lnTo>
                  <a:pt x="161" y="1100137"/>
                </a:lnTo>
                <a:lnTo>
                  <a:pt x="0" y="1096963"/>
                </a:lnTo>
                <a:cubicBezTo>
                  <a:pt x="0" y="491127"/>
                  <a:pt x="491482" y="0"/>
                  <a:pt x="109775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10" name="Freeform: Shape 9"/>
          <p:cNvSpPr>
            <a:spLocks noChangeAspect="1"/>
          </p:cNvSpPr>
          <p:nvPr/>
        </p:nvSpPr>
        <p:spPr>
          <a:xfrm>
            <a:off x="8335645" y="1755503"/>
            <a:ext cx="2880360" cy="3336415"/>
          </a:xfrm>
          <a:custGeom>
            <a:avLst/>
            <a:gdLst>
              <a:gd name="connsiteX0" fmla="*/ 1097281 w 2194562"/>
              <a:gd name="connsiteY0" fmla="*/ 0 h 2542032"/>
              <a:gd name="connsiteX1" fmla="*/ 2194561 w 2194562"/>
              <a:gd name="connsiteY1" fmla="*/ 548640 h 2542032"/>
              <a:gd name="connsiteX2" fmla="*/ 2194562 w 2194562"/>
              <a:gd name="connsiteY2" fmla="*/ 548640 h 2542032"/>
              <a:gd name="connsiteX3" fmla="*/ 2194562 w 2194562"/>
              <a:gd name="connsiteY3" fmla="*/ 1993392 h 2542032"/>
              <a:gd name="connsiteX4" fmla="*/ 2194560 w 2194562"/>
              <a:gd name="connsiteY4" fmla="*/ 1993392 h 2542032"/>
              <a:gd name="connsiteX5" fmla="*/ 1097280 w 2194562"/>
              <a:gd name="connsiteY5" fmla="*/ 2542032 h 2542032"/>
              <a:gd name="connsiteX6" fmla="*/ 0 w 2194562"/>
              <a:gd name="connsiteY6" fmla="*/ 1993392 h 2542032"/>
              <a:gd name="connsiteX7" fmla="*/ 1 w 2194562"/>
              <a:gd name="connsiteY7" fmla="*/ 1993392 h 2542032"/>
              <a:gd name="connsiteX8" fmla="*/ 1 w 2194562"/>
              <a:gd name="connsiteY8" fmla="*/ 548640 h 2542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94562" h="2542032">
                <a:moveTo>
                  <a:pt x="1097281" y="0"/>
                </a:moveTo>
                <a:lnTo>
                  <a:pt x="2194561" y="548640"/>
                </a:lnTo>
                <a:lnTo>
                  <a:pt x="2194562" y="548640"/>
                </a:lnTo>
                <a:lnTo>
                  <a:pt x="2194562" y="1993392"/>
                </a:lnTo>
                <a:lnTo>
                  <a:pt x="2194560" y="1993392"/>
                </a:lnTo>
                <a:lnTo>
                  <a:pt x="1097280" y="2542032"/>
                </a:lnTo>
                <a:lnTo>
                  <a:pt x="0" y="1993392"/>
                </a:lnTo>
                <a:lnTo>
                  <a:pt x="1" y="1993392"/>
                </a:lnTo>
                <a:lnTo>
                  <a:pt x="1" y="548640"/>
                </a:lnTo>
                <a:close/>
              </a:path>
            </a:pathLst>
          </a:custGeom>
          <a:noFill/>
          <a:ln w="15875">
            <a:solidFill>
              <a:schemeClr val="accent2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11921553" y="208248"/>
            <a:ext cx="147432" cy="3065893"/>
          </a:xfrm>
          <a:prstGeom prst="rect">
            <a:avLst/>
          </a:prstGeom>
        </p:spPr>
        <p:txBody>
          <a:bodyPr vert="vert270" lIns="0" tIns="0" rIns="0" bIns="0" anchor="t" anchorCtr="0"/>
          <a:lstStyle>
            <a:lvl1pPr algn="r">
              <a:defRPr sz="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hoto: Nam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762000" y="593931"/>
            <a:ext cx="2540000" cy="214988"/>
          </a:xfrm>
          <a:prstGeom prst="rect">
            <a:avLst/>
          </a:prstGeom>
        </p:spPr>
        <p:txBody>
          <a:bodyPr lIns="0" tIns="0" rIns="0" bIns="0"/>
          <a:lstStyle>
            <a:lvl1pPr algn="l">
              <a:spcBef>
                <a:spcPts val="0"/>
              </a:spcBef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Month Day, Year – Arial bold 9 pt. black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62000" y="4600880"/>
            <a:ext cx="5334000" cy="647700"/>
          </a:xfrm>
          <a:prstGeom prst="rect">
            <a:avLst/>
          </a:prstGeom>
        </p:spPr>
        <p:txBody>
          <a:bodyPr lIns="0" tIns="0" rIns="0" bIns="0"/>
          <a:lstStyle>
            <a:lvl1pPr algn="l">
              <a:spcBef>
                <a:spcPts val="0"/>
              </a:spcBef>
              <a:spcAft>
                <a:spcPts val="0"/>
              </a:spcAft>
              <a:defRPr sz="1100" baseline="0">
                <a:solidFill>
                  <a:schemeClr val="bg1"/>
                </a:solidFill>
                <a:latin typeface="+mn-lt"/>
              </a:defRPr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</a:lstStyle>
          <a:p>
            <a:pPr lvl="0"/>
            <a:r>
              <a:rPr lang="en-US"/>
              <a:t>Presenter Name - Arial 11 pt. black</a:t>
            </a:r>
            <a:br>
              <a:rPr lang="en-US"/>
            </a:br>
            <a:r>
              <a:rPr lang="en-US"/>
              <a:t>Presenter Title – Arial 11 pt. black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762000" y="2185988"/>
            <a:ext cx="5333999" cy="1281113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>
              <a:defRPr sz="3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title option 1 </a:t>
            </a:r>
            <a:br>
              <a:rPr lang="en-US"/>
            </a:br>
            <a:r>
              <a:rPr lang="en-US"/>
              <a:t>– Arial 36 pt. black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762000" y="3650041"/>
            <a:ext cx="5334000" cy="557213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– Arial 16 pt. black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9773055" y="1854740"/>
            <a:ext cx="0" cy="3138792"/>
          </a:xfrm>
          <a:prstGeom prst="line">
            <a:avLst/>
          </a:prstGeom>
          <a:ln w="12700" cap="flat" cmpd="sng" algn="ctr">
            <a:solidFill>
              <a:schemeClr val="accent2"/>
            </a:solidFill>
            <a:prstDash val="sysDot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 userDrawn="1"/>
        </p:nvSpPr>
        <p:spPr>
          <a:xfrm>
            <a:off x="9777572" y="2165816"/>
            <a:ext cx="821059" cy="307777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r>
              <a:rPr lang="en-US" sz="1400" i="0" kern="1200" baseline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+mn-cs"/>
              </a:rPr>
              <a:t>3.71” h </a:t>
            </a:r>
            <a:endParaRPr lang="en-US" sz="1400">
              <a:solidFill>
                <a:schemeClr val="accent2"/>
              </a:solidFill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 flipH="1">
            <a:off x="8398213" y="3400223"/>
            <a:ext cx="2749685" cy="47827"/>
          </a:xfrm>
          <a:prstGeom prst="line">
            <a:avLst/>
          </a:prstGeom>
          <a:ln w="12700" cap="flat" cmpd="sng" algn="ctr">
            <a:solidFill>
              <a:schemeClr val="accent2"/>
            </a:solidFill>
            <a:prstDash val="sysDot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 userDrawn="1"/>
        </p:nvSpPr>
        <p:spPr>
          <a:xfrm>
            <a:off x="10340501" y="3400223"/>
            <a:ext cx="721672" cy="307777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r>
              <a:rPr lang="en-US" sz="1400" i="0" kern="1200" baseline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+mn-cs"/>
              </a:rPr>
              <a:t>3.2” w </a:t>
            </a:r>
            <a:endParaRPr lang="en-US" sz="1400">
              <a:solidFill>
                <a:schemeClr val="accent2"/>
              </a:solidFill>
            </a:endParaRPr>
          </a:p>
        </p:txBody>
      </p:sp>
      <p:sp>
        <p:nvSpPr>
          <p:cNvPr id="11" name="SmartArt Placeholder 11"/>
          <p:cNvSpPr>
            <a:spLocks noGrp="1"/>
          </p:cNvSpPr>
          <p:nvPr>
            <p:ph type="dgm" sz="quarter" idx="18"/>
          </p:nvPr>
        </p:nvSpPr>
        <p:spPr>
          <a:xfrm rot="16200000">
            <a:off x="8080248" y="1960670"/>
            <a:ext cx="3392424" cy="2926080"/>
          </a:xfrm>
          <a:prstGeom prst="hexagon">
            <a:avLst/>
          </a:prstGeom>
          <a:blipFill dpi="0" rotWithShape="0">
            <a:blip r:embed="rId3"/>
            <a:srcRect/>
            <a:stretch>
              <a:fillRect l="-45837" r="-8745"/>
            </a:stretch>
          </a:blipFill>
        </p:spPr>
        <p:txBody>
          <a:bodyPr vert="vert" anchor="ctr" anchorCtr="0"/>
          <a:lstStyle>
            <a:lvl1pPr algn="ctr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SmartArt graphic</a:t>
            </a:r>
          </a:p>
        </p:txBody>
      </p:sp>
    </p:spTree>
    <p:extLst>
      <p:ext uri="{BB962C8B-B14F-4D97-AF65-F5344CB8AC3E}">
        <p14:creationId xmlns:p14="http://schemas.microsoft.com/office/powerpoint/2010/main" val="3717736904"/>
      </p:ext>
    </p:extLst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Red Title slide w/ sh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-5291"/>
            <a:ext cx="12192000" cy="685800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0" y="5894337"/>
            <a:ext cx="994416" cy="381192"/>
          </a:xfrm>
          <a:prstGeom prst="rect">
            <a:avLst/>
          </a:prstGeom>
        </p:spPr>
      </p:pic>
      <p:sp>
        <p:nvSpPr>
          <p:cNvPr id="8" name="Rectangle 7"/>
          <p:cNvSpPr>
            <a:spLocks noChangeAspect="1"/>
          </p:cNvSpPr>
          <p:nvPr/>
        </p:nvSpPr>
        <p:spPr>
          <a:xfrm>
            <a:off x="8312150" y="1"/>
            <a:ext cx="2927350" cy="145626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Freeform: Shape 8"/>
          <p:cNvSpPr>
            <a:spLocks noChangeAspect="1"/>
          </p:cNvSpPr>
          <p:nvPr/>
        </p:nvSpPr>
        <p:spPr>
          <a:xfrm>
            <a:off x="8312150" y="5391153"/>
            <a:ext cx="2927350" cy="1466850"/>
          </a:xfrm>
          <a:custGeom>
            <a:avLst/>
            <a:gdLst>
              <a:gd name="connsiteX0" fmla="*/ 1097756 w 2195512"/>
              <a:gd name="connsiteY0" fmla="*/ 0 h 1100137"/>
              <a:gd name="connsiteX1" fmla="*/ 2195512 w 2195512"/>
              <a:gd name="connsiteY1" fmla="*/ 1096963 h 1100137"/>
              <a:gd name="connsiteX2" fmla="*/ 2195352 w 2195512"/>
              <a:gd name="connsiteY2" fmla="*/ 1100137 h 1100137"/>
              <a:gd name="connsiteX3" fmla="*/ 161 w 2195512"/>
              <a:gd name="connsiteY3" fmla="*/ 1100137 h 1100137"/>
              <a:gd name="connsiteX4" fmla="*/ 0 w 2195512"/>
              <a:gd name="connsiteY4" fmla="*/ 1096963 h 1100137"/>
              <a:gd name="connsiteX5" fmla="*/ 1097756 w 2195512"/>
              <a:gd name="connsiteY5" fmla="*/ 0 h 110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95512" h="1100137">
                <a:moveTo>
                  <a:pt x="1097756" y="0"/>
                </a:moveTo>
                <a:cubicBezTo>
                  <a:pt x="1704030" y="0"/>
                  <a:pt x="2195512" y="491127"/>
                  <a:pt x="2195512" y="1096963"/>
                </a:cubicBezTo>
                <a:lnTo>
                  <a:pt x="2195352" y="1100137"/>
                </a:lnTo>
                <a:lnTo>
                  <a:pt x="161" y="1100137"/>
                </a:lnTo>
                <a:lnTo>
                  <a:pt x="0" y="1096963"/>
                </a:lnTo>
                <a:cubicBezTo>
                  <a:pt x="0" y="491127"/>
                  <a:pt x="491482" y="0"/>
                  <a:pt x="109775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10" name="Freeform: Shape 9"/>
          <p:cNvSpPr>
            <a:spLocks noChangeAspect="1"/>
          </p:cNvSpPr>
          <p:nvPr/>
        </p:nvSpPr>
        <p:spPr>
          <a:xfrm>
            <a:off x="8312151" y="1760840"/>
            <a:ext cx="2926083" cy="3389377"/>
          </a:xfrm>
          <a:custGeom>
            <a:avLst/>
            <a:gdLst>
              <a:gd name="connsiteX0" fmla="*/ 1097281 w 2194562"/>
              <a:gd name="connsiteY0" fmla="*/ 0 h 2542032"/>
              <a:gd name="connsiteX1" fmla="*/ 2194561 w 2194562"/>
              <a:gd name="connsiteY1" fmla="*/ 548640 h 2542032"/>
              <a:gd name="connsiteX2" fmla="*/ 2194562 w 2194562"/>
              <a:gd name="connsiteY2" fmla="*/ 548640 h 2542032"/>
              <a:gd name="connsiteX3" fmla="*/ 2194562 w 2194562"/>
              <a:gd name="connsiteY3" fmla="*/ 1993392 h 2542032"/>
              <a:gd name="connsiteX4" fmla="*/ 2194560 w 2194562"/>
              <a:gd name="connsiteY4" fmla="*/ 1993392 h 2542032"/>
              <a:gd name="connsiteX5" fmla="*/ 1097280 w 2194562"/>
              <a:gd name="connsiteY5" fmla="*/ 2542032 h 2542032"/>
              <a:gd name="connsiteX6" fmla="*/ 0 w 2194562"/>
              <a:gd name="connsiteY6" fmla="*/ 1993392 h 2542032"/>
              <a:gd name="connsiteX7" fmla="*/ 1 w 2194562"/>
              <a:gd name="connsiteY7" fmla="*/ 1993392 h 2542032"/>
              <a:gd name="connsiteX8" fmla="*/ 1 w 2194562"/>
              <a:gd name="connsiteY8" fmla="*/ 548640 h 2542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94562" h="2542032">
                <a:moveTo>
                  <a:pt x="1097281" y="0"/>
                </a:moveTo>
                <a:lnTo>
                  <a:pt x="2194561" y="548640"/>
                </a:lnTo>
                <a:lnTo>
                  <a:pt x="2194562" y="548640"/>
                </a:lnTo>
                <a:lnTo>
                  <a:pt x="2194562" y="1993392"/>
                </a:lnTo>
                <a:lnTo>
                  <a:pt x="2194560" y="1993392"/>
                </a:lnTo>
                <a:lnTo>
                  <a:pt x="1097280" y="2542032"/>
                </a:lnTo>
                <a:lnTo>
                  <a:pt x="0" y="1993392"/>
                </a:lnTo>
                <a:lnTo>
                  <a:pt x="1" y="1993392"/>
                </a:lnTo>
                <a:lnTo>
                  <a:pt x="1" y="54864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593931"/>
            <a:ext cx="2540000" cy="214988"/>
          </a:xfrm>
          <a:prstGeom prst="rect">
            <a:avLst/>
          </a:prstGeom>
        </p:spPr>
        <p:txBody>
          <a:bodyPr lIns="0" tIns="0" rIns="0" bIns="0"/>
          <a:lstStyle>
            <a:lvl1pPr algn="l">
              <a:spcBef>
                <a:spcPts val="0"/>
              </a:spcBef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Month Day, Year – Arial bold 9 pt. black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62000" y="4600880"/>
            <a:ext cx="5334000" cy="6477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100" baseline="0">
                <a:solidFill>
                  <a:schemeClr val="bg1"/>
                </a:solidFill>
                <a:latin typeface="+mn-lt"/>
              </a:defRPr>
            </a:lvl1pPr>
            <a:lvl2pPr algn="l">
              <a:defRPr sz="900"/>
            </a:lvl2pPr>
            <a:lvl3pPr algn="l">
              <a:defRPr sz="900"/>
            </a:lvl3pPr>
            <a:lvl4pPr algn="l">
              <a:defRPr sz="900"/>
            </a:lvl4pPr>
            <a:lvl5pPr algn="l">
              <a:defRPr sz="900"/>
            </a:lvl5pPr>
          </a:lstStyle>
          <a:p>
            <a:pPr lvl="0"/>
            <a:r>
              <a:rPr lang="en-US"/>
              <a:t>Presenter Name - Arial 11 pt. black</a:t>
            </a:r>
            <a:br>
              <a:rPr lang="en-US"/>
            </a:br>
            <a:r>
              <a:rPr lang="en-US"/>
              <a:t>Presenter Title – Arial 11 pt. black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762001" y="2185988"/>
            <a:ext cx="5334000" cy="1281113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>
              <a:defRPr sz="3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title option 2 </a:t>
            </a:r>
            <a:br>
              <a:rPr lang="en-US"/>
            </a:br>
            <a:r>
              <a:rPr lang="en-US"/>
              <a:t>– Arial 36 pt. black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762000" y="3650041"/>
            <a:ext cx="5334000" cy="557213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– Arial 16 pt. black</a:t>
            </a:r>
          </a:p>
        </p:txBody>
      </p:sp>
    </p:spTree>
    <p:extLst>
      <p:ext uri="{BB962C8B-B14F-4D97-AF65-F5344CB8AC3E}">
        <p14:creationId xmlns:p14="http://schemas.microsoft.com/office/powerpoint/2010/main" val="3508878987"/>
      </p:ext>
    </p:extLst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2737" y="6146358"/>
            <a:ext cx="11131826" cy="57249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28112"/>
      </p:ext>
    </p:extLst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TOC, sh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680138" y="4767068"/>
            <a:ext cx="7034924" cy="53892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>
              <a:lnSpc>
                <a:spcPts val="4000"/>
              </a:lnSpc>
              <a:spcAft>
                <a:spcPts val="1200"/>
              </a:spcAft>
            </a:pPr>
            <a:r>
              <a:rPr lang="en-US" sz="3200">
                <a:latin typeface="Arial" panose="020B0604020202020204" pitchFamily="34" charset="0"/>
                <a:cs typeface="Arial" panose="020B0604020202020204" pitchFamily="34" charset="0"/>
              </a:rPr>
              <a:t>Section Title – not active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680138" y="5404680"/>
            <a:ext cx="7034924" cy="53892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>
              <a:lnSpc>
                <a:spcPts val="4000"/>
              </a:lnSpc>
              <a:spcAft>
                <a:spcPts val="1200"/>
              </a:spcAft>
            </a:pPr>
            <a:r>
              <a:rPr lang="en-US" sz="3200">
                <a:latin typeface="Arial" panose="020B0604020202020204" pitchFamily="34" charset="0"/>
                <a:cs typeface="Arial" panose="020B0604020202020204" pitchFamily="34" charset="0"/>
              </a:rPr>
              <a:t>Section Title – not active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32737" y="6257676"/>
            <a:ext cx="11131826" cy="4611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2680138" y="3486324"/>
            <a:ext cx="7034924" cy="53892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>
              <a:lnSpc>
                <a:spcPts val="4000"/>
              </a:lnSpc>
              <a:spcAft>
                <a:spcPts val="1200"/>
              </a:spcAft>
            </a:pPr>
            <a:r>
              <a:rPr lang="en-US" sz="3200">
                <a:latin typeface="Arial" panose="020B0604020202020204" pitchFamily="34" charset="0"/>
                <a:cs typeface="Arial" panose="020B0604020202020204" pitchFamily="34" charset="0"/>
              </a:rPr>
              <a:t>Section Title - active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2680138" y="4123487"/>
            <a:ext cx="7034924" cy="53892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>
              <a:lnSpc>
                <a:spcPts val="4000"/>
              </a:lnSpc>
              <a:spcAft>
                <a:spcPts val="1200"/>
              </a:spcAft>
            </a:pPr>
            <a:r>
              <a:rPr lang="en-US" sz="3200">
                <a:latin typeface="Arial" panose="020B0604020202020204" pitchFamily="34" charset="0"/>
                <a:cs typeface="Arial" panose="020B0604020202020204" pitchFamily="34" charset="0"/>
              </a:rPr>
              <a:t>Section Title – not active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3486324"/>
            <a:ext cx="633248" cy="53892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762000" y="4124644"/>
            <a:ext cx="633248" cy="53892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762000" y="4767068"/>
            <a:ext cx="633248" cy="53892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5404680"/>
            <a:ext cx="633248" cy="53892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520912807"/>
      </p:ext>
    </p:extLst>
  </p:cSld>
  <p:clrMapOvr>
    <a:masterClrMapping/>
  </p:clrMapOvr>
  <p:transition spd="med"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TOC, lo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62000" y="931587"/>
            <a:ext cx="633248" cy="53892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680138" y="931587"/>
            <a:ext cx="7034924" cy="53892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>
              <a:lnSpc>
                <a:spcPts val="4000"/>
              </a:lnSpc>
              <a:spcAft>
                <a:spcPts val="1200"/>
              </a:spcAft>
            </a:pPr>
            <a:r>
              <a:rPr lang="en-US" sz="3200">
                <a:latin typeface="Arial" panose="020B0604020202020204" pitchFamily="34" charset="0"/>
                <a:cs typeface="Arial" panose="020B0604020202020204" pitchFamily="34" charset="0"/>
              </a:rPr>
              <a:t>Section Title - active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62000" y="1569907"/>
            <a:ext cx="633248" cy="53892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680138" y="4767068"/>
            <a:ext cx="7034924" cy="53892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>
              <a:lnSpc>
                <a:spcPts val="4000"/>
              </a:lnSpc>
              <a:spcAft>
                <a:spcPts val="1200"/>
              </a:spcAft>
            </a:pPr>
            <a:r>
              <a:rPr lang="en-US" sz="3200">
                <a:latin typeface="Arial" panose="020B0604020202020204" pitchFamily="34" charset="0"/>
                <a:cs typeface="Arial" panose="020B0604020202020204" pitchFamily="34" charset="0"/>
              </a:rPr>
              <a:t>Section Title – not active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62000" y="2213562"/>
            <a:ext cx="633248" cy="53892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680138" y="5404680"/>
            <a:ext cx="7034924" cy="53892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>
              <a:lnSpc>
                <a:spcPts val="4000"/>
              </a:lnSpc>
              <a:spcAft>
                <a:spcPts val="1200"/>
              </a:spcAft>
            </a:pPr>
            <a:r>
              <a:rPr lang="en-US" sz="3200">
                <a:latin typeface="Arial" panose="020B0604020202020204" pitchFamily="34" charset="0"/>
                <a:cs typeface="Arial" panose="020B0604020202020204" pitchFamily="34" charset="0"/>
              </a:rPr>
              <a:t>Section Title – not active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762000" y="2849943"/>
            <a:ext cx="633248" cy="53892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10" name="Rectangle 9"/>
          <p:cNvSpPr/>
          <p:nvPr/>
        </p:nvSpPr>
        <p:spPr>
          <a:xfrm>
            <a:off x="532737" y="6257676"/>
            <a:ext cx="11131826" cy="4611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2680138" y="3486324"/>
            <a:ext cx="7034924" cy="53892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>
              <a:lnSpc>
                <a:spcPts val="4000"/>
              </a:lnSpc>
              <a:spcAft>
                <a:spcPts val="1200"/>
              </a:spcAft>
            </a:pPr>
            <a:r>
              <a:rPr lang="en-US" sz="3200">
                <a:latin typeface="Arial" panose="020B0604020202020204" pitchFamily="34" charset="0"/>
                <a:cs typeface="Arial" panose="020B0604020202020204" pitchFamily="34" charset="0"/>
              </a:rPr>
              <a:t>Section Title – not active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2680138" y="4123487"/>
            <a:ext cx="7034924" cy="53892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>
              <a:lnSpc>
                <a:spcPts val="4000"/>
              </a:lnSpc>
              <a:spcAft>
                <a:spcPts val="1200"/>
              </a:spcAft>
            </a:pPr>
            <a:r>
              <a:rPr lang="en-US" sz="3200">
                <a:latin typeface="Arial" panose="020B0604020202020204" pitchFamily="34" charset="0"/>
                <a:cs typeface="Arial" panose="020B0604020202020204" pitchFamily="34" charset="0"/>
              </a:rPr>
              <a:t>Section Title – not active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2680138" y="2849943"/>
            <a:ext cx="7034924" cy="53892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>
              <a:lnSpc>
                <a:spcPts val="4000"/>
              </a:lnSpc>
              <a:spcAft>
                <a:spcPts val="1200"/>
              </a:spcAft>
            </a:pPr>
            <a:r>
              <a:rPr lang="en-US" sz="3200">
                <a:latin typeface="Arial" panose="020B0604020202020204" pitchFamily="34" charset="0"/>
                <a:cs typeface="Arial" panose="020B0604020202020204" pitchFamily="34" charset="0"/>
              </a:rPr>
              <a:t>Section Title – not active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2680138" y="1569907"/>
            <a:ext cx="7034924" cy="53892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>
              <a:lnSpc>
                <a:spcPts val="4000"/>
              </a:lnSpc>
              <a:spcAft>
                <a:spcPts val="1200"/>
              </a:spcAft>
            </a:pPr>
            <a:r>
              <a:rPr lang="en-US" sz="3200">
                <a:latin typeface="Arial" panose="020B0604020202020204" pitchFamily="34" charset="0"/>
                <a:cs typeface="Arial" panose="020B0604020202020204" pitchFamily="34" charset="0"/>
              </a:rPr>
              <a:t>Section Title – not active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2680138" y="2213562"/>
            <a:ext cx="7034924" cy="53892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>
              <a:lnSpc>
                <a:spcPts val="4000"/>
              </a:lnSpc>
              <a:spcAft>
                <a:spcPts val="1200"/>
              </a:spcAft>
            </a:pPr>
            <a:r>
              <a:rPr lang="en-US" sz="3200">
                <a:latin typeface="Arial" panose="020B0604020202020204" pitchFamily="34" charset="0"/>
                <a:cs typeface="Arial" panose="020B0604020202020204" pitchFamily="34" charset="0"/>
              </a:rPr>
              <a:t>Section Title – not active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3486324"/>
            <a:ext cx="633248" cy="53892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762000" y="4124644"/>
            <a:ext cx="633248" cy="53892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762000" y="4767068"/>
            <a:ext cx="633248" cy="53892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7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5404680"/>
            <a:ext cx="633248" cy="53892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292222075"/>
      </p:ext>
    </p:extLst>
  </p:cSld>
  <p:clrMapOvr>
    <a:masterClrMapping/>
  </p:clrMapOvr>
  <p:transition spd="med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Red 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838200"/>
            <a:ext cx="8829545" cy="2819400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4800" baseline="0">
                <a:solidFill>
                  <a:schemeClr val="bg1"/>
                </a:solidFill>
              </a:defRPr>
            </a:lvl1pPr>
            <a:lvl2pPr algn="ctr">
              <a:defRPr sz="4800" baseline="0"/>
            </a:lvl2pPr>
            <a:lvl3pPr algn="ctr">
              <a:defRPr sz="4800" baseline="0"/>
            </a:lvl3pPr>
            <a:lvl4pPr algn="ctr">
              <a:defRPr sz="4800" baseline="0"/>
            </a:lvl4pPr>
            <a:lvl5pPr algn="ctr">
              <a:defRPr sz="4800" baseline="0"/>
            </a:lvl5pPr>
          </a:lstStyle>
          <a:p>
            <a:pPr lvl="0"/>
            <a:r>
              <a:rPr lang="en-US"/>
              <a:t>Section title – Arial 48 pt. white. Text goes here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22392"/>
            <a:ext cx="12192000" cy="850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855118"/>
      </p:ext>
    </p:extLst>
  </p:cSld>
  <p:clrMapOvr>
    <a:masterClrMapping/>
  </p:clrMapOvr>
  <p:transition spd="med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Purple 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22392"/>
            <a:ext cx="12191999" cy="850286"/>
          </a:xfrm>
          <a:prstGeom prst="rect">
            <a:avLst/>
          </a:prstGeom>
        </p:spPr>
      </p:pic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838200"/>
            <a:ext cx="8829545" cy="2819400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4800" baseline="0">
                <a:solidFill>
                  <a:schemeClr val="bg1"/>
                </a:solidFill>
              </a:defRPr>
            </a:lvl1pPr>
            <a:lvl2pPr algn="ctr">
              <a:defRPr sz="4800" baseline="0"/>
            </a:lvl2pPr>
            <a:lvl3pPr algn="ctr">
              <a:defRPr sz="4800" baseline="0"/>
            </a:lvl3pPr>
            <a:lvl4pPr algn="ctr">
              <a:defRPr sz="4800" baseline="0"/>
            </a:lvl4pPr>
            <a:lvl5pPr algn="ctr">
              <a:defRPr sz="4800" baseline="0"/>
            </a:lvl5pPr>
          </a:lstStyle>
          <a:p>
            <a:pPr lvl="0"/>
            <a:r>
              <a:rPr lang="en-US"/>
              <a:t>Section title – Arial 48 pt. white. 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177801955"/>
      </p:ext>
    </p:extLst>
  </p:cSld>
  <p:clrMapOvr>
    <a:masterClrMapping/>
  </p:clrMapOvr>
  <p:transition spd="med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Teal 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838200"/>
            <a:ext cx="8829545" cy="2819400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4800" baseline="0">
                <a:solidFill>
                  <a:schemeClr val="bg1"/>
                </a:solidFill>
              </a:defRPr>
            </a:lvl1pPr>
            <a:lvl2pPr algn="ctr">
              <a:defRPr sz="4800" baseline="0"/>
            </a:lvl2pPr>
            <a:lvl3pPr algn="ctr">
              <a:defRPr sz="4800" baseline="0"/>
            </a:lvl3pPr>
            <a:lvl4pPr algn="ctr">
              <a:defRPr sz="4800" baseline="0"/>
            </a:lvl4pPr>
            <a:lvl5pPr algn="ctr">
              <a:defRPr sz="4800" baseline="0"/>
            </a:lvl5pPr>
          </a:lstStyle>
          <a:p>
            <a:pPr lvl="0"/>
            <a:r>
              <a:rPr lang="en-US"/>
              <a:t>Section title – Arial 48 pt. white. Text goes here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22392"/>
            <a:ext cx="12191999" cy="850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152496"/>
      </p:ext>
    </p:extLst>
  </p:cSld>
  <p:clrMapOvr>
    <a:masterClrMapping/>
  </p:clrMapOvr>
  <p:transition spd="med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Green 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838200"/>
            <a:ext cx="8829545" cy="2819400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4800" baseline="0">
                <a:solidFill>
                  <a:schemeClr val="bg1"/>
                </a:solidFill>
              </a:defRPr>
            </a:lvl1pPr>
            <a:lvl2pPr algn="ctr">
              <a:defRPr sz="4800" baseline="0"/>
            </a:lvl2pPr>
            <a:lvl3pPr algn="ctr">
              <a:defRPr sz="4800" baseline="0"/>
            </a:lvl3pPr>
            <a:lvl4pPr algn="ctr">
              <a:defRPr sz="4800" baseline="0"/>
            </a:lvl4pPr>
            <a:lvl5pPr algn="ctr">
              <a:defRPr sz="4800" baseline="0"/>
            </a:lvl5pPr>
          </a:lstStyle>
          <a:p>
            <a:pPr lvl="0"/>
            <a:r>
              <a:rPr lang="en-US"/>
              <a:t>Section title – Arial 48 pt. white. Text goes here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24410"/>
            <a:ext cx="12191999" cy="850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527497"/>
      </p:ext>
    </p:extLst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Blank page with Header/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049378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8AEA1B93-DB0B-33C4-6C50-8FD2474CA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1" cy="6858000"/>
          </a:xfrm>
          <a:custGeom>
            <a:avLst/>
            <a:gdLst>
              <a:gd name="connsiteX0" fmla="*/ 3218999 w 6096001"/>
              <a:gd name="connsiteY0" fmla="*/ 2668987 h 6858000"/>
              <a:gd name="connsiteX1" fmla="*/ 3218999 w 6096001"/>
              <a:gd name="connsiteY1" fmla="*/ 3752595 h 6858000"/>
              <a:gd name="connsiteX2" fmla="*/ 2442001 w 6096001"/>
              <a:gd name="connsiteY2" fmla="*/ 3752595 h 6858000"/>
              <a:gd name="connsiteX3" fmla="*/ 3218999 w 6096001"/>
              <a:gd name="connsiteY3" fmla="*/ 1883188 h 6858000"/>
              <a:gd name="connsiteX4" fmla="*/ 1820976 w 6096001"/>
              <a:gd name="connsiteY4" fmla="*/ 3839578 h 6858000"/>
              <a:gd name="connsiteX5" fmla="*/ 1820976 w 6096001"/>
              <a:gd name="connsiteY5" fmla="*/ 4242061 h 6858000"/>
              <a:gd name="connsiteX6" fmla="*/ 3218999 w 6096001"/>
              <a:gd name="connsiteY6" fmla="*/ 4242061 h 6858000"/>
              <a:gd name="connsiteX7" fmla="*/ 3218999 w 6096001"/>
              <a:gd name="connsiteY7" fmla="*/ 5164970 h 6858000"/>
              <a:gd name="connsiteX8" fmla="*/ 3791372 w 6096001"/>
              <a:gd name="connsiteY8" fmla="*/ 5164970 h 6858000"/>
              <a:gd name="connsiteX9" fmla="*/ 3791372 w 6096001"/>
              <a:gd name="connsiteY9" fmla="*/ 4242061 h 6858000"/>
              <a:gd name="connsiteX10" fmla="*/ 4275028 w 6096001"/>
              <a:gd name="connsiteY10" fmla="*/ 4242061 h 6858000"/>
              <a:gd name="connsiteX11" fmla="*/ 4275028 w 6096001"/>
              <a:gd name="connsiteY11" fmla="*/ 3752595 h 6858000"/>
              <a:gd name="connsiteX12" fmla="*/ 3791372 w 6096001"/>
              <a:gd name="connsiteY12" fmla="*/ 3752595 h 6858000"/>
              <a:gd name="connsiteX13" fmla="*/ 3791372 w 6096001"/>
              <a:gd name="connsiteY13" fmla="*/ 1883188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218999" y="2668987"/>
                </a:moveTo>
                <a:lnTo>
                  <a:pt x="3218999" y="3752595"/>
                </a:lnTo>
                <a:lnTo>
                  <a:pt x="2442001" y="3752595"/>
                </a:lnTo>
                <a:close/>
                <a:moveTo>
                  <a:pt x="3218999" y="1883188"/>
                </a:moveTo>
                <a:lnTo>
                  <a:pt x="1820976" y="3839578"/>
                </a:lnTo>
                <a:lnTo>
                  <a:pt x="1820976" y="4242061"/>
                </a:lnTo>
                <a:lnTo>
                  <a:pt x="3218999" y="4242061"/>
                </a:lnTo>
                <a:lnTo>
                  <a:pt x="3218999" y="5164970"/>
                </a:lnTo>
                <a:lnTo>
                  <a:pt x="3791372" y="5164970"/>
                </a:lnTo>
                <a:lnTo>
                  <a:pt x="3791372" y="4242061"/>
                </a:lnTo>
                <a:lnTo>
                  <a:pt x="4275028" y="4242061"/>
                </a:lnTo>
                <a:lnTo>
                  <a:pt x="4275028" y="3752595"/>
                </a:lnTo>
                <a:lnTo>
                  <a:pt x="3791372" y="3752595"/>
                </a:lnTo>
                <a:lnTo>
                  <a:pt x="3791372" y="1883188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3314B818-1A45-4088-0941-EB7C6968EA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5C3A23D4-78BE-16F7-8E29-ADEBA311D0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85690267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ATH: Blank page with Header/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334818"/>
      </p:ext>
    </p:extLst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Two column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847224"/>
            <a:ext cx="10718800" cy="1045371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 baseline="0">
                <a:solidFill>
                  <a:schemeClr val="accent1"/>
                </a:solidFill>
              </a:defRPr>
            </a:lvl1pPr>
          </a:lstStyle>
          <a:p>
            <a:pPr>
              <a:lnSpc>
                <a:spcPts val="4000"/>
              </a:lnSpc>
              <a:spcAft>
                <a:spcPts val="1800"/>
              </a:spcAft>
            </a:pPr>
            <a:r>
              <a:rPr lang="en-US" sz="3200">
                <a:solidFill>
                  <a:srgbClr val="F6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 – Arial 32 pt. red: Two column with dense body copy. The header can fit on two lines if needed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62001" y="2019300"/>
            <a:ext cx="10706100" cy="3924300"/>
          </a:xfrm>
          <a:prstGeom prst="rect">
            <a:avLst/>
          </a:prstGeom>
        </p:spPr>
        <p:txBody>
          <a:bodyPr lIns="0" tIns="0" rIns="0" bIns="0" numCol="2" spcCol="457200"/>
          <a:lstStyle>
            <a:lvl1pPr marL="0" marR="0" indent="0" algn="l" defTabSz="609585" rtl="0" eaLnBrk="1" fontAlgn="base" latinLnBrk="0" hangingPunct="1">
              <a:lnSpc>
                <a:spcPts val="18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>
              <a:lnSpc>
                <a:spcPts val="1800"/>
              </a:lnSpc>
              <a:spcAft>
                <a:spcPts val="1800"/>
              </a:spcAft>
            </a:pPr>
            <a:r>
              <a:rPr lang="en-US"/>
              <a:t>Body text – Arial 16 pt., black, 18 pt. paragraph spacing after: This is used for a dense information page with a large amount of copy. This is used for a dense information page with a large amount of copy. This is used for a dense information page with a large amount of copy. This is used for a dense information page with a large amount of copy. This is used for a dense information page with a large amount of copy. This is used for a dense information page with a large amount of copy. This is used for a dense information page with a large amount of copy. This is used for a dense information page with a large amount of copy. This is used for a dense information page with a large amount of copy. This is used for a dense information page with a large amount of copy. This is used for a dense information page with a large amount of copy. This is used for a dense information page with a large amount of copy. This is used for a dense information page with a large amount of copy. This is used for a dense information page with a large amount of copy. This is used for a dense information page with a large amount of copy. </a:t>
            </a:r>
          </a:p>
          <a:p>
            <a:pPr>
              <a:lnSpc>
                <a:spcPts val="1800"/>
              </a:lnSpc>
              <a:spcAft>
                <a:spcPts val="1800"/>
              </a:spcAft>
            </a:pPr>
            <a:r>
              <a:rPr lang="en-US"/>
              <a:t>This is used for a dense information page with a large amount of copy. This is used for a dense information page with a large amount of copy. This is used for a dense information page with a large amount of copy. This is used for a dense information page with a large amount of copy. 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8063249"/>
      </p:ext>
    </p:extLst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Half page, one column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1" y="837815"/>
            <a:ext cx="5105399" cy="1105285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z="3200">
                <a:solidFill>
                  <a:srgbClr val="F6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 – Arial 32 pt. red: </a:t>
            </a:r>
            <a:r>
              <a:rPr lang="en-US"/>
              <a:t>Single column of text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62000" y="2019300"/>
            <a:ext cx="5105400" cy="382905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Body text – Arial 16 pt., black, 18 pt. paragraph spacing after: This is used for a smaller amount of text without any additional images, or to provide space for a collection of smaller images and photos. It’s intended to hold a few talking points. Aim for clear and concise. </a:t>
            </a:r>
          </a:p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This is used for a smaller amount of text without any additional images, or to provide space for a collection of smaller images and photos. It’s intended to hold a few talking points. Aim for clear and concise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2533076"/>
      </p:ext>
    </p:extLst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Split one column, header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2743200"/>
            <a:ext cx="5105400" cy="131545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z="3200">
                <a:solidFill>
                  <a:srgbClr val="F6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 – Arial 32 pt. red: </a:t>
            </a:r>
            <a:r>
              <a:rPr lang="en-US"/>
              <a:t>Two-column split, minimal text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324599" y="2743200"/>
            <a:ext cx="5143501" cy="21717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6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Body text – Arial 16 pt., black, 18 pt. paragraph spacing after: This is used for a smaller amount of text without any additional images. Use for simple impact.</a:t>
            </a:r>
          </a:p>
        </p:txBody>
      </p:sp>
    </p:spTree>
    <p:extLst>
      <p:ext uri="{BB962C8B-B14F-4D97-AF65-F5344CB8AC3E}">
        <p14:creationId xmlns:p14="http://schemas.microsoft.com/office/powerpoint/2010/main" val="1738786320"/>
      </p:ext>
    </p:extLst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One column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2019300"/>
            <a:ext cx="10706101" cy="39243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Body text – Arial 16 pt., black, 18 pt. paragraph spacing after: This is used for a dense information page with a large amount of copy. Two column text box makes for easier reading; however, you may find a single column is necessary in certain situation. Use your discretion. </a:t>
            </a:r>
          </a:p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This is used for a dense information page with a large amount of copy. Two column text box makes for easier reading; however, you may find a single column is necessary in certain situation. Use your discretion. This is used for a dense information page with a large amount of copy. Two column text box makes for easier reading; however, you may find a single column is necessary in certain situation. Use your discretion. This is used for a dense information page with a large amount of copy. Two column text box makes for easier reading; however, you may find a single column is necessary in certain situation. Use your discretion. This is used for a dense information page with a large amount of copy. Two column text box makes for easier reading; however, you may find a single column is necessary in certain situation. Use your discretion. </a:t>
            </a:r>
          </a:p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This is used for a dense information page with a large amount of copy. Two column text box makes for easier reading; however, you may find a single column is necessary in certain situation. Use your discretion. </a:t>
            </a:r>
          </a:p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62000" y="847224"/>
            <a:ext cx="10718800" cy="1095876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 baseline="0">
                <a:solidFill>
                  <a:schemeClr val="accent1"/>
                </a:solidFill>
              </a:defRPr>
            </a:lvl1pPr>
          </a:lstStyle>
          <a:p>
            <a:pPr>
              <a:lnSpc>
                <a:spcPts val="4000"/>
              </a:lnSpc>
              <a:spcAft>
                <a:spcPts val="1800"/>
              </a:spcAft>
            </a:pPr>
            <a:r>
              <a:rPr lang="en-US" sz="3200">
                <a:solidFill>
                  <a:srgbClr val="F6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 – Arial 32 pt. red: One column with dense body copy. The header can fit on two lines if needed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1AE64EE-EE96-4CC1-A591-11467FB66D2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Presentation Title | Section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4676F0F-7605-4FD4-882B-E6A1DC023B8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Optional footer (program team name, etc.)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C0CA996-8B20-47EC-A923-36567D3EE15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300063"/>
      </p:ext>
    </p:extLst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One column text box, Half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324600" y="0"/>
            <a:ext cx="58674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762001" y="837815"/>
            <a:ext cx="5105400" cy="1014891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z="3200">
                <a:solidFill>
                  <a:srgbClr val="F6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 – Arial 32 pt. red: </a:t>
            </a:r>
            <a:r>
              <a:rPr lang="en-US"/>
              <a:t>Single col of </a:t>
            </a:r>
            <a:r>
              <a:rPr lang="en-US" err="1"/>
              <a:t>text,half</a:t>
            </a:r>
            <a:r>
              <a:rPr lang="en-US"/>
              <a:t>-page photo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762000" y="2019299"/>
            <a:ext cx="5105401" cy="390525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Body text – Arial 16 pt., black, 18 pt. paragraph spacing after: This is used for a smaller amount of text to accompany an image. It’s intended to hold a few talking points. Aim for clear and concise.  </a:t>
            </a:r>
          </a:p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This is used for a smaller amount of text to accompany an image. It’s intended to hold a few talking points. Aim for clear and concise. This is used for a smaller amount of text to accompany an image. It’s intended to hold a few talking points. Aim for clear and concise.  </a:t>
            </a:r>
          </a:p>
        </p:txBody>
      </p:sp>
    </p:spTree>
    <p:extLst>
      <p:ext uri="{BB962C8B-B14F-4D97-AF65-F5344CB8AC3E}">
        <p14:creationId xmlns:p14="http://schemas.microsoft.com/office/powerpoint/2010/main" val="3064844843"/>
      </p:ext>
    </p:extLst>
  </p:cSld>
  <p:clrMapOvr>
    <a:masterClrMapping/>
  </p:clrMapOvr>
  <p:transition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One column header, Half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324600" y="0"/>
            <a:ext cx="58674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762000" y="842209"/>
            <a:ext cx="5105400" cy="2190239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rgbClr val="FF0000"/>
                </a:solidFill>
              </a:defRPr>
            </a:lvl1pPr>
          </a:lstStyle>
          <a:p>
            <a:pPr>
              <a:lnSpc>
                <a:spcPts val="4000"/>
              </a:lnSpc>
            </a:pPr>
            <a:r>
              <a:rPr lang="en-US" sz="3200">
                <a:solidFill>
                  <a:srgbClr val="F6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 – Arial 32 pt. red: </a:t>
            </a:r>
            <a:r>
              <a:rPr lang="en-US" sz="3200">
                <a:solidFill>
                  <a:srgbClr val="F84F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is a single thought you want to emphasize with a half-page photo.</a:t>
            </a:r>
          </a:p>
        </p:txBody>
      </p:sp>
    </p:spTree>
    <p:extLst>
      <p:ext uri="{BB962C8B-B14F-4D97-AF65-F5344CB8AC3E}">
        <p14:creationId xmlns:p14="http://schemas.microsoft.com/office/powerpoint/2010/main" val="1567792806"/>
      </p:ext>
    </p:extLst>
  </p:cSld>
  <p:clrMapOvr>
    <a:masterClrMapping/>
  </p:clrMapOvr>
  <p:transition spd="med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Full page photo with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1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ull page photo background – Fill the slide with your photo and crop to the slide dimensions (hold shift key when resizing to maintain proportion). </a:t>
            </a:r>
            <a:br>
              <a:rPr lang="en-US"/>
            </a:br>
            <a:r>
              <a:rPr lang="en-US"/>
              <a:t>NOTE: When using a full page photo slide layout, the PATH logo, which is part of the Slide Master, will be covered. You will need to copy the PATH logo </a:t>
            </a:r>
            <a:br>
              <a:rPr lang="en-US"/>
            </a:br>
            <a:r>
              <a:rPr lang="en-US"/>
              <a:t>                                                                                                            from the Slide Master and paste it on top of your placed photo in order for it to show. </a:t>
            </a:r>
          </a:p>
          <a:p>
            <a:pPr lvl="0"/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62000" y="2034195"/>
            <a:ext cx="4175760" cy="2942844"/>
          </a:xfrm>
          <a:prstGeom prst="rect">
            <a:avLst/>
          </a:prstGeom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all-out text – Arial 24 pt., black, dark grey, or white: This is a single thought you want to emphasize with a full-bleed image. Position this text box where appropriate. Text can be black, dark grey, or whit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634699"/>
      </p:ext>
    </p:extLst>
  </p:cSld>
  <p:clrMapOvr>
    <a:masterClrMapping/>
  </p:clrMapOvr>
  <p:transition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Photo Coll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762000" y="838199"/>
            <a:ext cx="5220448" cy="510540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6197600" y="838199"/>
            <a:ext cx="5276850" cy="250264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6197600" y="3532094"/>
            <a:ext cx="2540000" cy="241150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8890000" y="3534260"/>
            <a:ext cx="2590799" cy="240934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11921553" y="208248"/>
            <a:ext cx="147432" cy="1947123"/>
          </a:xfrm>
          <a:prstGeom prst="rect">
            <a:avLst/>
          </a:prstGeom>
        </p:spPr>
        <p:txBody>
          <a:bodyPr vert="vert270" lIns="0" tIns="0" rIns="0" bIns="0" anchor="t" anchorCtr="0"/>
          <a:lstStyle>
            <a:lvl1pPr algn="r">
              <a:defRPr sz="6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Photo: Name</a:t>
            </a:r>
          </a:p>
        </p:txBody>
      </p:sp>
    </p:spTree>
    <p:extLst>
      <p:ext uri="{BB962C8B-B14F-4D97-AF65-F5344CB8AC3E}">
        <p14:creationId xmlns:p14="http://schemas.microsoft.com/office/powerpoint/2010/main" val="2645743503"/>
      </p:ext>
    </p:extLst>
  </p:cSld>
  <p:clrMapOvr>
    <a:masterClrMapping/>
  </p:clrMapOvr>
  <p:transition spd="med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H: Photo Coll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footer (program team name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Presentation Title | Sec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0" y="2314280"/>
            <a:ext cx="2133600" cy="217404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2893661" y="1617789"/>
            <a:ext cx="2660104" cy="35679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6197600" y="1617789"/>
            <a:ext cx="2660104" cy="35679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/>
          <p:cNvSpPr>
            <a:spLocks noGrp="1"/>
          </p:cNvSpPr>
          <p:nvPr>
            <p:ph type="pic" sz="quarter" idx="17"/>
          </p:nvPr>
        </p:nvSpPr>
        <p:spPr>
          <a:xfrm>
            <a:off x="9531896" y="2330814"/>
            <a:ext cx="2660104" cy="21575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11921553" y="208248"/>
            <a:ext cx="147432" cy="1947123"/>
          </a:xfrm>
          <a:prstGeom prst="rect">
            <a:avLst/>
          </a:prstGeom>
        </p:spPr>
        <p:txBody>
          <a:bodyPr vert="vert270" lIns="0" tIns="0" rIns="0" bIns="0" anchor="t" anchorCtr="0"/>
          <a:lstStyle>
            <a:lvl1pPr algn="r">
              <a:defRPr sz="6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Photo: Name</a:t>
            </a:r>
          </a:p>
        </p:txBody>
      </p:sp>
    </p:spTree>
    <p:extLst>
      <p:ext uri="{BB962C8B-B14F-4D97-AF65-F5344CB8AC3E}">
        <p14:creationId xmlns:p14="http://schemas.microsoft.com/office/powerpoint/2010/main" val="2050723817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slideLayout" Target="../slideLayouts/slideLayout45.xml"/><Relationship Id="rId39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40.xml"/><Relationship Id="rId34" Type="http://schemas.openxmlformats.org/officeDocument/2006/relationships/slideLayout" Target="../slideLayouts/slideLayout53.xml"/><Relationship Id="rId42" Type="http://schemas.openxmlformats.org/officeDocument/2006/relationships/slideLayout" Target="../slideLayouts/slideLayout61.xml"/><Relationship Id="rId47" Type="http://schemas.openxmlformats.org/officeDocument/2006/relationships/slideLayout" Target="../slideLayouts/slideLayout66.xml"/><Relationship Id="rId50" Type="http://schemas.openxmlformats.org/officeDocument/2006/relationships/oleObject" Target="../embeddings/oleObject2.bin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43.xml"/><Relationship Id="rId32" Type="http://schemas.openxmlformats.org/officeDocument/2006/relationships/slideLayout" Target="../slideLayouts/slideLayout51.xml"/><Relationship Id="rId37" Type="http://schemas.openxmlformats.org/officeDocument/2006/relationships/slideLayout" Target="../slideLayouts/slideLayout56.xml"/><Relationship Id="rId40" Type="http://schemas.openxmlformats.org/officeDocument/2006/relationships/slideLayout" Target="../slideLayouts/slideLayout59.xml"/><Relationship Id="rId45" Type="http://schemas.openxmlformats.org/officeDocument/2006/relationships/slideLayout" Target="../slideLayouts/slideLayout64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slideLayout" Target="../slideLayouts/slideLayout42.xml"/><Relationship Id="rId28" Type="http://schemas.openxmlformats.org/officeDocument/2006/relationships/slideLayout" Target="../slideLayouts/slideLayout47.xml"/><Relationship Id="rId36" Type="http://schemas.openxmlformats.org/officeDocument/2006/relationships/slideLayout" Target="../slideLayouts/slideLayout55.xml"/><Relationship Id="rId49" Type="http://schemas.openxmlformats.org/officeDocument/2006/relationships/tags" Target="../tags/tag3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31" Type="http://schemas.openxmlformats.org/officeDocument/2006/relationships/slideLayout" Target="../slideLayouts/slideLayout50.xml"/><Relationship Id="rId44" Type="http://schemas.openxmlformats.org/officeDocument/2006/relationships/slideLayout" Target="../slideLayouts/slideLayout63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Relationship Id="rId27" Type="http://schemas.openxmlformats.org/officeDocument/2006/relationships/slideLayout" Target="../slideLayouts/slideLayout46.xml"/><Relationship Id="rId30" Type="http://schemas.openxmlformats.org/officeDocument/2006/relationships/slideLayout" Target="../slideLayouts/slideLayout49.xml"/><Relationship Id="rId35" Type="http://schemas.openxmlformats.org/officeDocument/2006/relationships/slideLayout" Target="../slideLayouts/slideLayout54.xml"/><Relationship Id="rId43" Type="http://schemas.openxmlformats.org/officeDocument/2006/relationships/slideLayout" Target="../slideLayouts/slideLayout62.xml"/><Relationship Id="rId48" Type="http://schemas.openxmlformats.org/officeDocument/2006/relationships/theme" Target="../theme/theme2.xml"/><Relationship Id="rId8" Type="http://schemas.openxmlformats.org/officeDocument/2006/relationships/slideLayout" Target="../slideLayouts/slideLayout27.xml"/><Relationship Id="rId51" Type="http://schemas.openxmlformats.org/officeDocument/2006/relationships/image" Target="../media/image1.emf"/><Relationship Id="rId3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slideLayout" Target="../slideLayouts/slideLayout44.xml"/><Relationship Id="rId33" Type="http://schemas.openxmlformats.org/officeDocument/2006/relationships/slideLayout" Target="../slideLayouts/slideLayout52.xml"/><Relationship Id="rId38" Type="http://schemas.openxmlformats.org/officeDocument/2006/relationships/slideLayout" Target="../slideLayouts/slideLayout57.xml"/><Relationship Id="rId4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39.xml"/><Relationship Id="rId41" Type="http://schemas.openxmlformats.org/officeDocument/2006/relationships/slideLayout" Target="../slideLayouts/slideLayout60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68.xml"/><Relationship Id="rId16" Type="http://schemas.openxmlformats.org/officeDocument/2006/relationships/image" Target="../media/image22.png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slideLayout" Target="../slideLayouts/slideLayout103.xml"/><Relationship Id="rId39" Type="http://schemas.openxmlformats.org/officeDocument/2006/relationships/slideLayout" Target="../slideLayouts/slideLayout116.xml"/><Relationship Id="rId21" Type="http://schemas.openxmlformats.org/officeDocument/2006/relationships/slideLayout" Target="../slideLayouts/slideLayout98.xml"/><Relationship Id="rId34" Type="http://schemas.openxmlformats.org/officeDocument/2006/relationships/slideLayout" Target="../slideLayouts/slideLayout111.xml"/><Relationship Id="rId42" Type="http://schemas.openxmlformats.org/officeDocument/2006/relationships/slideLayout" Target="../slideLayouts/slideLayout119.xml"/><Relationship Id="rId47" Type="http://schemas.openxmlformats.org/officeDocument/2006/relationships/slideLayout" Target="../slideLayouts/slideLayout124.xml"/><Relationship Id="rId50" Type="http://schemas.openxmlformats.org/officeDocument/2006/relationships/slideLayout" Target="../slideLayouts/slideLayout127.xml"/><Relationship Id="rId55" Type="http://schemas.openxmlformats.org/officeDocument/2006/relationships/oleObject" Target="../embeddings/oleObject5.bin"/><Relationship Id="rId7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9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32" Type="http://schemas.openxmlformats.org/officeDocument/2006/relationships/slideLayout" Target="../slideLayouts/slideLayout109.xml"/><Relationship Id="rId37" Type="http://schemas.openxmlformats.org/officeDocument/2006/relationships/slideLayout" Target="../slideLayouts/slideLayout114.xml"/><Relationship Id="rId40" Type="http://schemas.openxmlformats.org/officeDocument/2006/relationships/slideLayout" Target="../slideLayouts/slideLayout117.xml"/><Relationship Id="rId45" Type="http://schemas.openxmlformats.org/officeDocument/2006/relationships/slideLayout" Target="../slideLayouts/slideLayout122.xml"/><Relationship Id="rId53" Type="http://schemas.openxmlformats.org/officeDocument/2006/relationships/theme" Target="../theme/theme4.xml"/><Relationship Id="rId5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6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Relationship Id="rId27" Type="http://schemas.openxmlformats.org/officeDocument/2006/relationships/slideLayout" Target="../slideLayouts/slideLayout104.xml"/><Relationship Id="rId30" Type="http://schemas.openxmlformats.org/officeDocument/2006/relationships/slideLayout" Target="../slideLayouts/slideLayout107.xml"/><Relationship Id="rId35" Type="http://schemas.openxmlformats.org/officeDocument/2006/relationships/slideLayout" Target="../slideLayouts/slideLayout112.xml"/><Relationship Id="rId43" Type="http://schemas.openxmlformats.org/officeDocument/2006/relationships/slideLayout" Target="../slideLayouts/slideLayout120.xml"/><Relationship Id="rId48" Type="http://schemas.openxmlformats.org/officeDocument/2006/relationships/slideLayout" Target="../slideLayouts/slideLayout125.xml"/><Relationship Id="rId56" Type="http://schemas.openxmlformats.org/officeDocument/2006/relationships/image" Target="../media/image1.emf"/><Relationship Id="rId8" Type="http://schemas.openxmlformats.org/officeDocument/2006/relationships/slideLayout" Target="../slideLayouts/slideLayout85.xml"/><Relationship Id="rId51" Type="http://schemas.openxmlformats.org/officeDocument/2006/relationships/slideLayout" Target="../slideLayouts/slideLayout128.xml"/><Relationship Id="rId3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33" Type="http://schemas.openxmlformats.org/officeDocument/2006/relationships/slideLayout" Target="../slideLayouts/slideLayout110.xml"/><Relationship Id="rId38" Type="http://schemas.openxmlformats.org/officeDocument/2006/relationships/slideLayout" Target="../slideLayouts/slideLayout115.xml"/><Relationship Id="rId46" Type="http://schemas.openxmlformats.org/officeDocument/2006/relationships/slideLayout" Target="../slideLayouts/slideLayout123.xml"/><Relationship Id="rId20" Type="http://schemas.openxmlformats.org/officeDocument/2006/relationships/slideLayout" Target="../slideLayouts/slideLayout97.xml"/><Relationship Id="rId41" Type="http://schemas.openxmlformats.org/officeDocument/2006/relationships/slideLayout" Target="../slideLayouts/slideLayout118.xml"/><Relationship Id="rId54" Type="http://schemas.openxmlformats.org/officeDocument/2006/relationships/tags" Target="../tags/tag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28" Type="http://schemas.openxmlformats.org/officeDocument/2006/relationships/slideLayout" Target="../slideLayouts/slideLayout105.xml"/><Relationship Id="rId36" Type="http://schemas.openxmlformats.org/officeDocument/2006/relationships/slideLayout" Target="../slideLayouts/slideLayout113.xml"/><Relationship Id="rId49" Type="http://schemas.openxmlformats.org/officeDocument/2006/relationships/slideLayout" Target="../slideLayouts/slideLayout126.xml"/><Relationship Id="rId57" Type="http://schemas.openxmlformats.org/officeDocument/2006/relationships/image" Target="../media/image31.png"/><Relationship Id="rId10" Type="http://schemas.openxmlformats.org/officeDocument/2006/relationships/slideLayout" Target="../slideLayouts/slideLayout87.xml"/><Relationship Id="rId31" Type="http://schemas.openxmlformats.org/officeDocument/2006/relationships/slideLayout" Target="../slideLayouts/slideLayout108.xml"/><Relationship Id="rId44" Type="http://schemas.openxmlformats.org/officeDocument/2006/relationships/slideLayout" Target="../slideLayouts/slideLayout121.xml"/><Relationship Id="rId52" Type="http://schemas.openxmlformats.org/officeDocument/2006/relationships/slideLayout" Target="../slideLayouts/slideLayout129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2.xml"/><Relationship Id="rId18" Type="http://schemas.openxmlformats.org/officeDocument/2006/relationships/slideLayout" Target="../slideLayouts/slideLayout147.xml"/><Relationship Id="rId26" Type="http://schemas.openxmlformats.org/officeDocument/2006/relationships/slideLayout" Target="../slideLayouts/slideLayout155.xml"/><Relationship Id="rId39" Type="http://schemas.openxmlformats.org/officeDocument/2006/relationships/slideLayout" Target="../slideLayouts/slideLayout168.xml"/><Relationship Id="rId21" Type="http://schemas.openxmlformats.org/officeDocument/2006/relationships/slideLayout" Target="../slideLayouts/slideLayout150.xml"/><Relationship Id="rId34" Type="http://schemas.openxmlformats.org/officeDocument/2006/relationships/slideLayout" Target="../slideLayouts/slideLayout163.xml"/><Relationship Id="rId42" Type="http://schemas.openxmlformats.org/officeDocument/2006/relationships/slideLayout" Target="../slideLayouts/slideLayout171.xml"/><Relationship Id="rId47" Type="http://schemas.openxmlformats.org/officeDocument/2006/relationships/theme" Target="../theme/theme5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31.xml"/><Relationship Id="rId16" Type="http://schemas.openxmlformats.org/officeDocument/2006/relationships/slideLayout" Target="../slideLayouts/slideLayout145.xml"/><Relationship Id="rId29" Type="http://schemas.openxmlformats.org/officeDocument/2006/relationships/slideLayout" Target="../slideLayouts/slideLayout158.xml"/><Relationship Id="rId11" Type="http://schemas.openxmlformats.org/officeDocument/2006/relationships/slideLayout" Target="../slideLayouts/slideLayout140.xml"/><Relationship Id="rId24" Type="http://schemas.openxmlformats.org/officeDocument/2006/relationships/slideLayout" Target="../slideLayouts/slideLayout153.xml"/><Relationship Id="rId32" Type="http://schemas.openxmlformats.org/officeDocument/2006/relationships/slideLayout" Target="../slideLayouts/slideLayout161.xml"/><Relationship Id="rId37" Type="http://schemas.openxmlformats.org/officeDocument/2006/relationships/slideLayout" Target="../slideLayouts/slideLayout166.xml"/><Relationship Id="rId40" Type="http://schemas.openxmlformats.org/officeDocument/2006/relationships/slideLayout" Target="../slideLayouts/slideLayout169.xml"/><Relationship Id="rId45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34.xml"/><Relationship Id="rId15" Type="http://schemas.openxmlformats.org/officeDocument/2006/relationships/slideLayout" Target="../slideLayouts/slideLayout144.xml"/><Relationship Id="rId23" Type="http://schemas.openxmlformats.org/officeDocument/2006/relationships/slideLayout" Target="../slideLayouts/slideLayout152.xml"/><Relationship Id="rId28" Type="http://schemas.openxmlformats.org/officeDocument/2006/relationships/slideLayout" Target="../slideLayouts/slideLayout157.xml"/><Relationship Id="rId36" Type="http://schemas.openxmlformats.org/officeDocument/2006/relationships/slideLayout" Target="../slideLayouts/slideLayout165.xml"/><Relationship Id="rId49" Type="http://schemas.openxmlformats.org/officeDocument/2006/relationships/oleObject" Target="../embeddings/oleObject6.bin"/><Relationship Id="rId10" Type="http://schemas.openxmlformats.org/officeDocument/2006/relationships/slideLayout" Target="../slideLayouts/slideLayout139.xml"/><Relationship Id="rId19" Type="http://schemas.openxmlformats.org/officeDocument/2006/relationships/slideLayout" Target="../slideLayouts/slideLayout148.xml"/><Relationship Id="rId31" Type="http://schemas.openxmlformats.org/officeDocument/2006/relationships/slideLayout" Target="../slideLayouts/slideLayout160.xml"/><Relationship Id="rId44" Type="http://schemas.openxmlformats.org/officeDocument/2006/relationships/slideLayout" Target="../slideLayouts/slideLayout173.xml"/><Relationship Id="rId4" Type="http://schemas.openxmlformats.org/officeDocument/2006/relationships/slideLayout" Target="../slideLayouts/slideLayout133.xml"/><Relationship Id="rId9" Type="http://schemas.openxmlformats.org/officeDocument/2006/relationships/slideLayout" Target="../slideLayouts/slideLayout138.xml"/><Relationship Id="rId14" Type="http://schemas.openxmlformats.org/officeDocument/2006/relationships/slideLayout" Target="../slideLayouts/slideLayout143.xml"/><Relationship Id="rId22" Type="http://schemas.openxmlformats.org/officeDocument/2006/relationships/slideLayout" Target="../slideLayouts/slideLayout151.xml"/><Relationship Id="rId27" Type="http://schemas.openxmlformats.org/officeDocument/2006/relationships/slideLayout" Target="../slideLayouts/slideLayout156.xml"/><Relationship Id="rId30" Type="http://schemas.openxmlformats.org/officeDocument/2006/relationships/slideLayout" Target="../slideLayouts/slideLayout159.xml"/><Relationship Id="rId35" Type="http://schemas.openxmlformats.org/officeDocument/2006/relationships/slideLayout" Target="../slideLayouts/slideLayout164.xml"/><Relationship Id="rId43" Type="http://schemas.openxmlformats.org/officeDocument/2006/relationships/slideLayout" Target="../slideLayouts/slideLayout172.xml"/><Relationship Id="rId48" Type="http://schemas.openxmlformats.org/officeDocument/2006/relationships/tags" Target="../tags/tag10.xml"/><Relationship Id="rId8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41.xml"/><Relationship Id="rId17" Type="http://schemas.openxmlformats.org/officeDocument/2006/relationships/slideLayout" Target="../slideLayouts/slideLayout146.xml"/><Relationship Id="rId25" Type="http://schemas.openxmlformats.org/officeDocument/2006/relationships/slideLayout" Target="../slideLayouts/slideLayout154.xml"/><Relationship Id="rId33" Type="http://schemas.openxmlformats.org/officeDocument/2006/relationships/slideLayout" Target="../slideLayouts/slideLayout162.xml"/><Relationship Id="rId38" Type="http://schemas.openxmlformats.org/officeDocument/2006/relationships/slideLayout" Target="../slideLayouts/slideLayout167.xml"/><Relationship Id="rId46" Type="http://schemas.openxmlformats.org/officeDocument/2006/relationships/slideLayout" Target="../slideLayouts/slideLayout175.xml"/><Relationship Id="rId20" Type="http://schemas.openxmlformats.org/officeDocument/2006/relationships/slideLayout" Target="../slideLayouts/slideLayout149.xml"/><Relationship Id="rId41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F5AE7D1-3A1E-79F9-874C-8359DAEF99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437704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73" imgH="473" progId="TCLayout.ActiveDocument.1">
                  <p:embed/>
                </p:oleObj>
              </mc:Choice>
              <mc:Fallback>
                <p:oleObj name="think-cell Slide" r:id="rId22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F5AE7D1-3A1E-79F9-874C-8359DAEF9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4C9939A-617C-3E44-A0D0-909C79756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226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325974"/>
            <a:ext cx="11154344" cy="44566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F729D7-DBF0-1846-87E5-720E70F9E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7567" y="6356350"/>
            <a:ext cx="4189003" cy="1365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Gavi Presentation Templa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18EB43-CEEF-AF40-88AE-32CEA15C6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51"/>
            <a:ext cx="261629" cy="13334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6502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12" r:id="rId4"/>
    <p:sldLayoutId id="2147483735" r:id="rId5"/>
    <p:sldLayoutId id="2147483700" r:id="rId6"/>
    <p:sldLayoutId id="2147483698" r:id="rId7"/>
    <p:sldLayoutId id="2147483701" r:id="rId8"/>
    <p:sldLayoutId id="2147483736" r:id="rId9"/>
    <p:sldLayoutId id="2147483737" r:id="rId10"/>
    <p:sldLayoutId id="2147483738" r:id="rId11"/>
    <p:sldLayoutId id="2147483709" r:id="rId12"/>
    <p:sldLayoutId id="2147483710" r:id="rId13"/>
    <p:sldLayoutId id="2147483711" r:id="rId14"/>
    <p:sldLayoutId id="2147483739" r:id="rId15"/>
    <p:sldLayoutId id="2147483740" r:id="rId16"/>
    <p:sldLayoutId id="2147483741" r:id="rId17"/>
    <p:sldLayoutId id="2147483714" r:id="rId18"/>
    <p:sldLayoutId id="2147483713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 userDrawn="1">
          <p15:clr>
            <a:srgbClr val="F26B43"/>
          </p15:clr>
        </p15:guide>
        <p15:guide id="3" pos="7355" userDrawn="1">
          <p15:clr>
            <a:srgbClr val="F26B43"/>
          </p15:clr>
        </p15:guide>
        <p15:guide id="4" orient="horz" pos="232" userDrawn="1">
          <p15:clr>
            <a:srgbClr val="F26B43"/>
          </p15:clr>
        </p15:guide>
        <p15:guide id="5" orient="horz" pos="4088" userDrawn="1">
          <p15:clr>
            <a:srgbClr val="F26B43"/>
          </p15:clr>
        </p15:guide>
        <p15:guide id="7" orient="horz" pos="822" userDrawn="1">
          <p15:clr>
            <a:srgbClr val="F26B43"/>
          </p15:clr>
        </p15:guide>
        <p15:guide id="9" orient="horz" pos="372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5502BA7-5A26-4BF6-E830-65A1A434A5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1539932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0" imgW="473" imgH="473" progId="TCLayout.ActiveDocument.1">
                  <p:embed/>
                </p:oleObj>
              </mc:Choice>
              <mc:Fallback>
                <p:oleObj name="think-cell Slide" r:id="rId50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5502BA7-5A26-4BF6-E830-65A1A434A5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4C9939A-617C-3E44-A0D0-909C79756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226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325974"/>
            <a:ext cx="11154344" cy="44566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F729D7-DBF0-1846-87E5-720E70F9E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7567" y="6356350"/>
            <a:ext cx="4189003" cy="1365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Gavi Presentation Templa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18EB43-CEEF-AF40-88AE-32CEA15C6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51"/>
            <a:ext cx="261629" cy="13334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6051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84" r:id="rId8"/>
    <p:sldLayoutId id="2147483785" r:id="rId9"/>
    <p:sldLayoutId id="2147483771" r:id="rId10"/>
    <p:sldLayoutId id="2147483783" r:id="rId11"/>
    <p:sldLayoutId id="2147483772" r:id="rId12"/>
    <p:sldLayoutId id="2147483787" r:id="rId13"/>
    <p:sldLayoutId id="2147483786" r:id="rId14"/>
    <p:sldLayoutId id="2147483773" r:id="rId15"/>
    <p:sldLayoutId id="2147483774" r:id="rId16"/>
    <p:sldLayoutId id="2147483789" r:id="rId17"/>
    <p:sldLayoutId id="2147483805" r:id="rId18"/>
    <p:sldLayoutId id="2147483804" r:id="rId19"/>
    <p:sldLayoutId id="2147483800" r:id="rId20"/>
    <p:sldLayoutId id="2147483769" r:id="rId21"/>
    <p:sldLayoutId id="2147483770" r:id="rId22"/>
    <p:sldLayoutId id="2147483811" r:id="rId23"/>
    <p:sldLayoutId id="2147483802" r:id="rId24"/>
    <p:sldLayoutId id="2147483801" r:id="rId25"/>
    <p:sldLayoutId id="2147483807" r:id="rId26"/>
    <p:sldLayoutId id="2147483808" r:id="rId27"/>
    <p:sldLayoutId id="2147483818" r:id="rId28"/>
    <p:sldLayoutId id="2147483817" r:id="rId29"/>
    <p:sldLayoutId id="2147483819" r:id="rId30"/>
    <p:sldLayoutId id="2147483820" r:id="rId31"/>
    <p:sldLayoutId id="2147483775" r:id="rId32"/>
    <p:sldLayoutId id="2147483776" r:id="rId33"/>
    <p:sldLayoutId id="2147483803" r:id="rId34"/>
    <p:sldLayoutId id="2147483777" r:id="rId35"/>
    <p:sldLayoutId id="2147483778" r:id="rId36"/>
    <p:sldLayoutId id="2147483812" r:id="rId37"/>
    <p:sldLayoutId id="2147483813" r:id="rId38"/>
    <p:sldLayoutId id="2147483814" r:id="rId39"/>
    <p:sldLayoutId id="2147483815" r:id="rId40"/>
    <p:sldLayoutId id="2147483816" r:id="rId41"/>
    <p:sldLayoutId id="2147483779" r:id="rId42"/>
    <p:sldLayoutId id="2147483780" r:id="rId43"/>
    <p:sldLayoutId id="2147483781" r:id="rId44"/>
    <p:sldLayoutId id="2147483782" r:id="rId45"/>
    <p:sldLayoutId id="2147483810" r:id="rId46"/>
    <p:sldLayoutId id="2147483935" r:id="rId4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 userDrawn="1">
          <p15:clr>
            <a:srgbClr val="F26B43"/>
          </p15:clr>
        </p15:guide>
        <p15:guide id="3" pos="7355" userDrawn="1">
          <p15:clr>
            <a:srgbClr val="F26B43"/>
          </p15:clr>
        </p15:guide>
        <p15:guide id="4" orient="horz" pos="232" userDrawn="1">
          <p15:clr>
            <a:srgbClr val="F26B43"/>
          </p15:clr>
        </p15:guide>
        <p15:guide id="5" orient="horz" pos="4088" userDrawn="1">
          <p15:clr>
            <a:srgbClr val="F26B43"/>
          </p15:clr>
        </p15:guide>
        <p15:guide id="7" orient="horz" pos="822" userDrawn="1">
          <p15:clr>
            <a:srgbClr val="F26B43"/>
          </p15:clr>
        </p15:guide>
        <p15:guide id="9" orient="horz" pos="372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89C00DC-5ADB-BA1B-E739-2980D4195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23361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3" progId="TCLayout.ActiveDocument.1">
                  <p:embed/>
                </p:oleObj>
              </mc:Choice>
              <mc:Fallback>
                <p:oleObj name="think-cell Slide" r:id="rId1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89C00DC-5ADB-BA1B-E739-2980D4195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672000" y="1424243"/>
            <a:ext cx="12960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672000" y="217251"/>
            <a:ext cx="10848000" cy="10366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672000" y="1604675"/>
            <a:ext cx="10848000" cy="4192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Text level 1</a:t>
            </a:r>
          </a:p>
          <a:p>
            <a:pPr lvl="1"/>
            <a:r>
              <a:rPr lang="en-US" noProof="0"/>
              <a:t>Text level 2</a:t>
            </a:r>
          </a:p>
          <a:p>
            <a:pPr lvl="2"/>
            <a:r>
              <a:rPr lang="en-US" noProof="0"/>
              <a:t>Text level 3</a:t>
            </a:r>
          </a:p>
          <a:p>
            <a:pPr lvl="3"/>
            <a:r>
              <a:rPr lang="en-US" noProof="0"/>
              <a:t>Text level 4</a:t>
            </a:r>
          </a:p>
          <a:p>
            <a:pPr lvl="4"/>
            <a:r>
              <a:rPr lang="en-US" noProof="0"/>
              <a:t>Text level 5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-1" y="6498000"/>
            <a:ext cx="1246719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33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>
                <a:solidFill>
                  <a:prstClr val="white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10" name="Rectangle 9"/>
          <p:cNvSpPr/>
          <p:nvPr userDrawn="1"/>
        </p:nvSpPr>
        <p:spPr bwMode="gray">
          <a:xfrm>
            <a:off x="9854400" y="5771955"/>
            <a:ext cx="23376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82979" y="5424167"/>
            <a:ext cx="2400000" cy="1437563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630000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sym typeface="Arial" panose="020B0604020202020204" pitchFamily="34" charset="0"/>
              </a:rPr>
              <a:pPr>
                <a:defRPr/>
              </a:pPr>
              <a:t>‹#›</a:t>
            </a:fld>
            <a:endParaRPr lang="en-US" sz="1000">
              <a:solidFill>
                <a:prstClr val="white">
                  <a:lumMod val="50000"/>
                </a:prstClr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7297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3" r:id="rId11"/>
  </p:sldLayoutIdLst>
  <p:hf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733" b="0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10000"/>
        </a:lnSpc>
        <a:spcBef>
          <a:spcPts val="0"/>
        </a:spcBef>
        <a:buFont typeface="Arial" pitchFamily="34" charset="0"/>
        <a:buNone/>
        <a:defRPr sz="2667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431989" indent="-239994" algn="l" defTabSz="1219170" rtl="0" eaLnBrk="1" latinLnBrk="0" hangingPunct="1">
        <a:lnSpc>
          <a:spcPct val="100000"/>
        </a:lnSpc>
        <a:spcBef>
          <a:spcPts val="400"/>
        </a:spcBef>
        <a:buClr>
          <a:schemeClr val="accent3"/>
        </a:buClr>
        <a:buFont typeface="Arial" pitchFamily="34" charset="0"/>
        <a:buChar char="•"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671983" indent="-239994" algn="l" defTabSz="1219170" rtl="0" eaLnBrk="1" latinLnBrk="0" hangingPunct="1">
        <a:lnSpc>
          <a:spcPct val="100000"/>
        </a:lnSpc>
        <a:spcBef>
          <a:spcPts val="400"/>
        </a:spcBef>
        <a:buSzPct val="100000"/>
        <a:buFont typeface="Arial" pitchFamily="34" charset="0"/>
        <a:buChar char="•"/>
        <a:defRPr sz="2133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71983" indent="0" algn="l" defTabSz="1219170" rtl="0" eaLnBrk="1" latinLnBrk="0" hangingPunct="1">
        <a:lnSpc>
          <a:spcPct val="100000"/>
        </a:lnSpc>
        <a:spcBef>
          <a:spcPts val="400"/>
        </a:spcBef>
        <a:buSzPct val="100000"/>
        <a:buFont typeface="Arial" pitchFamily="34" charset="0"/>
        <a:buNone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911977" indent="-239994" algn="l" defTabSz="1219170" rtl="0" eaLnBrk="1" latinLnBrk="0" hangingPunct="1">
        <a:lnSpc>
          <a:spcPct val="100000"/>
        </a:lnSpc>
        <a:spcBef>
          <a:spcPts val="400"/>
        </a:spcBef>
        <a:buSzPct val="100000"/>
        <a:buFont typeface="Arial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9AC51AC-3C59-9190-338F-44124DC390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216737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473" imgH="473" progId="TCLayout.ActiveDocument.1">
                  <p:embed/>
                </p:oleObj>
              </mc:Choice>
              <mc:Fallback>
                <p:oleObj name="think-cell Slide" r:id="rId55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9AC51AC-3C59-9190-338F-44124DC390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57"/>
          <a:stretch>
            <a:fillRect/>
          </a:stretch>
        </p:blipFill>
        <p:spPr>
          <a:xfrm>
            <a:off x="10786526" y="6286500"/>
            <a:ext cx="685309" cy="294957"/>
          </a:xfrm>
          <a:prstGeom prst="rect">
            <a:avLst/>
          </a:prstGeom>
        </p:spPr>
      </p:pic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762000" y="838199"/>
            <a:ext cx="10591800" cy="104241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marL="0" marR="0" lvl="0" indent="0" algn="l" defTabSz="609585" rtl="0" eaLnBrk="1" fontAlgn="base" latinLnBrk="0" hangingPunct="1">
              <a:lnSpc>
                <a:spcPts val="4000"/>
              </a:lnSpc>
              <a:spcBef>
                <a:spcPct val="2000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65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1 – Arial 32 pt. red: Either across two columns or one column. The header can fit on two lines if neede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762000" y="2019299"/>
            <a:ext cx="10591800" cy="41576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Body text – Arial 16 pt., black, 18 pt. paragraph spacing after </a:t>
            </a:r>
          </a:p>
          <a:p>
            <a:pPr lvl="1"/>
            <a:r>
              <a:rPr lang="en-US"/>
              <a:t>Bullets – Arial 16 pt., black, 6 pt. paragraph spacing after. Last bullet - 18 pt. paragraph spacing after 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943149" y="6460651"/>
            <a:ext cx="4114800" cy="165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Optional footer (program team name, etc.)</a:t>
            </a:r>
          </a:p>
        </p:txBody>
      </p:sp>
      <p:sp>
        <p:nvSpPr>
          <p:cNvPr id="11" name="Date Placeholder 8"/>
          <p:cNvSpPr>
            <a:spLocks noGrp="1"/>
          </p:cNvSpPr>
          <p:nvPr>
            <p:ph type="dt" sz="half" idx="2"/>
          </p:nvPr>
        </p:nvSpPr>
        <p:spPr>
          <a:xfrm>
            <a:off x="764623" y="402517"/>
            <a:ext cx="4471852" cy="17373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Title | Section Title</a:t>
            </a:r>
          </a:p>
        </p:txBody>
      </p:sp>
      <p:sp>
        <p:nvSpPr>
          <p:cNvPr id="13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762000" y="6460651"/>
            <a:ext cx="181149" cy="16459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E28D367D-202E-4BB0-8243-51A46362D7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01579C-E5F4-470A-8A3D-B66D224722FE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0" y="0"/>
            <a:ext cx="1566863" cy="1676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1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 intended recipient onl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349533F-6F39-48B0-A097-5210AC5497A7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6690360"/>
            <a:ext cx="1566863" cy="1676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1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 intended recipient only</a:t>
            </a:r>
          </a:p>
        </p:txBody>
      </p:sp>
    </p:spTree>
    <p:extLst>
      <p:ext uri="{BB962C8B-B14F-4D97-AF65-F5344CB8AC3E}">
        <p14:creationId xmlns:p14="http://schemas.microsoft.com/office/powerpoint/2010/main" val="2709205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  <p:sldLayoutId id="2147483847" r:id="rId12"/>
    <p:sldLayoutId id="2147483848" r:id="rId13"/>
    <p:sldLayoutId id="2147483849" r:id="rId14"/>
    <p:sldLayoutId id="2147483850" r:id="rId15"/>
    <p:sldLayoutId id="2147483851" r:id="rId16"/>
    <p:sldLayoutId id="2147483852" r:id="rId17"/>
    <p:sldLayoutId id="2147483853" r:id="rId18"/>
    <p:sldLayoutId id="2147483854" r:id="rId19"/>
    <p:sldLayoutId id="2147483855" r:id="rId20"/>
    <p:sldLayoutId id="2147483856" r:id="rId21"/>
    <p:sldLayoutId id="2147483857" r:id="rId22"/>
    <p:sldLayoutId id="2147483858" r:id="rId23"/>
    <p:sldLayoutId id="2147483859" r:id="rId24"/>
    <p:sldLayoutId id="2147483860" r:id="rId25"/>
    <p:sldLayoutId id="2147483861" r:id="rId26"/>
    <p:sldLayoutId id="2147483862" r:id="rId27"/>
    <p:sldLayoutId id="2147483863" r:id="rId28"/>
    <p:sldLayoutId id="2147483864" r:id="rId29"/>
    <p:sldLayoutId id="2147483865" r:id="rId30"/>
    <p:sldLayoutId id="2147483866" r:id="rId31"/>
    <p:sldLayoutId id="2147483867" r:id="rId32"/>
    <p:sldLayoutId id="2147483868" r:id="rId33"/>
    <p:sldLayoutId id="2147483869" r:id="rId34"/>
    <p:sldLayoutId id="2147483870" r:id="rId35"/>
    <p:sldLayoutId id="2147483871" r:id="rId36"/>
    <p:sldLayoutId id="2147483872" r:id="rId37"/>
    <p:sldLayoutId id="2147483873" r:id="rId38"/>
    <p:sldLayoutId id="2147483874" r:id="rId39"/>
    <p:sldLayoutId id="2147483875" r:id="rId40"/>
    <p:sldLayoutId id="2147483876" r:id="rId41"/>
    <p:sldLayoutId id="2147483877" r:id="rId42"/>
    <p:sldLayoutId id="2147483878" r:id="rId43"/>
    <p:sldLayoutId id="2147483879" r:id="rId44"/>
    <p:sldLayoutId id="2147483880" r:id="rId45"/>
    <p:sldLayoutId id="2147483881" r:id="rId46"/>
    <p:sldLayoutId id="2147483882" r:id="rId47"/>
    <p:sldLayoutId id="2147483883" r:id="rId48"/>
    <p:sldLayoutId id="2147483884" r:id="rId49"/>
    <p:sldLayoutId id="2147483885" r:id="rId50"/>
    <p:sldLayoutId id="2147483886" r:id="rId51"/>
    <p:sldLayoutId id="2147483887" r:id="rId52"/>
  </p:sldLayoutIdLst>
  <p:transition spd="med">
    <p:fade/>
  </p:transition>
  <p:txStyles>
    <p:titleStyle>
      <a:lvl1pPr marL="0" marR="0" indent="0" algn="l" defTabSz="609585" rtl="0" eaLnBrk="1" fontAlgn="base" latinLnBrk="0" hangingPunct="1">
        <a:lnSpc>
          <a:spcPts val="4000"/>
        </a:lnSpc>
        <a:spcBef>
          <a:spcPct val="20000"/>
        </a:spcBef>
        <a:spcAft>
          <a:spcPts val="1800"/>
        </a:spcAft>
        <a:buClrTx/>
        <a:buSzTx/>
        <a:buFont typeface="Arial" panose="020B0604020202020204" pitchFamily="34" charset="0"/>
        <a:buNone/>
        <a:tabLst/>
        <a:defRPr sz="4267" b="1" kern="1200">
          <a:solidFill>
            <a:srgbClr val="454E6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  <a:lvl2pPr algn="l" defTabSz="609585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454E60"/>
          </a:solidFill>
          <a:latin typeface="Helvetica" pitchFamily="2" charset="0"/>
          <a:ea typeface="Helvetica" pitchFamily="2" charset="0"/>
          <a:cs typeface="Helvetica" pitchFamily="2" charset="0"/>
        </a:defRPr>
      </a:lvl2pPr>
      <a:lvl3pPr algn="l" defTabSz="609585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454E60"/>
          </a:solidFill>
          <a:latin typeface="Helvetica" pitchFamily="2" charset="0"/>
          <a:ea typeface="Helvetica" pitchFamily="2" charset="0"/>
          <a:cs typeface="Helvetica" pitchFamily="2" charset="0"/>
        </a:defRPr>
      </a:lvl3pPr>
      <a:lvl4pPr algn="l" defTabSz="609585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454E60"/>
          </a:solidFill>
          <a:latin typeface="Helvetica" pitchFamily="2" charset="0"/>
          <a:ea typeface="Helvetica" pitchFamily="2" charset="0"/>
          <a:cs typeface="Helvetica" pitchFamily="2" charset="0"/>
        </a:defRPr>
      </a:lvl4pPr>
      <a:lvl5pPr algn="l" defTabSz="609585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454E60"/>
          </a:solidFill>
          <a:latin typeface="Helvetica" pitchFamily="2" charset="0"/>
          <a:ea typeface="Helvetica" pitchFamily="2" charset="0"/>
          <a:cs typeface="Helvetica" pitchFamily="2" charset="0"/>
        </a:defRPr>
      </a:lvl5pPr>
      <a:lvl6pPr marL="609585" algn="l" defTabSz="609585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454E60"/>
          </a:solidFill>
          <a:latin typeface="Helvetica" pitchFamily="2" charset="0"/>
          <a:ea typeface="Helvetica" pitchFamily="2" charset="0"/>
          <a:cs typeface="Helvetica" pitchFamily="2" charset="0"/>
        </a:defRPr>
      </a:lvl6pPr>
      <a:lvl7pPr marL="1219170" algn="l" defTabSz="609585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454E60"/>
          </a:solidFill>
          <a:latin typeface="Helvetica" pitchFamily="2" charset="0"/>
          <a:ea typeface="Helvetica" pitchFamily="2" charset="0"/>
          <a:cs typeface="Helvetica" pitchFamily="2" charset="0"/>
        </a:defRPr>
      </a:lvl7pPr>
      <a:lvl8pPr marL="1828754" algn="l" defTabSz="609585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454E60"/>
          </a:solidFill>
          <a:latin typeface="Helvetica" pitchFamily="2" charset="0"/>
          <a:ea typeface="Helvetica" pitchFamily="2" charset="0"/>
          <a:cs typeface="Helvetica" pitchFamily="2" charset="0"/>
        </a:defRPr>
      </a:lvl8pPr>
      <a:lvl9pPr marL="2438339" algn="l" defTabSz="609585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454E60"/>
          </a:solidFill>
          <a:latin typeface="Helvetica" pitchFamily="2" charset="0"/>
          <a:ea typeface="Helvetica" pitchFamily="2" charset="0"/>
          <a:cs typeface="Helvetica" pitchFamily="2" charset="0"/>
        </a:defRPr>
      </a:lvl9pPr>
    </p:titleStyle>
    <p:bodyStyle>
      <a:lvl1pPr algn="l" defTabSz="609585" rtl="0" eaLnBrk="1" fontAlgn="base" hangingPunct="1">
        <a:spcBef>
          <a:spcPts val="0"/>
        </a:spcBef>
        <a:spcAft>
          <a:spcPts val="1800"/>
        </a:spcAft>
        <a:buFont typeface="Arial" panose="020B0604020202020204" pitchFamily="34" charset="0"/>
        <a:defRPr sz="160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  <a:lvl2pPr marL="895335" indent="-285750" algn="l" defTabSz="609585" rtl="0" eaLnBrk="1" fontAlgn="base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2pPr>
      <a:lvl3pPr marL="1504920" indent="-285750" algn="l" defTabSz="609585" rtl="0" eaLnBrk="1" fontAlgn="base" hangingPunct="1">
        <a:spcBef>
          <a:spcPct val="0"/>
        </a:spcBef>
        <a:spcAft>
          <a:spcPts val="600"/>
        </a:spcAft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3pPr>
      <a:lvl4pPr marL="1828754" algn="l" defTabSz="609585" rtl="0" eaLnBrk="1" fontAlgn="base" hangingPunct="1">
        <a:spcBef>
          <a:spcPct val="20000"/>
        </a:spcBef>
        <a:spcAft>
          <a:spcPts val="600"/>
        </a:spcAft>
        <a:buFont typeface="Arial" panose="020B0604020202020204" pitchFamily="34" charset="0"/>
        <a:defRPr sz="160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4pPr>
      <a:lvl5pPr marL="2438339" algn="l" defTabSz="609585" rtl="0" eaLnBrk="1" fontAlgn="base" hangingPunct="1">
        <a:spcBef>
          <a:spcPct val="20000"/>
        </a:spcBef>
        <a:spcAft>
          <a:spcPts val="600"/>
        </a:spcAft>
        <a:buFont typeface="Arial" panose="020B0604020202020204" pitchFamily="34" charset="0"/>
        <a:defRPr sz="160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5ACBF0"/>
          </p15:clr>
        </p15:guide>
        <p15:guide id="2" orient="horz" pos="2160">
          <p15:clr>
            <a:srgbClr val="5ACBF0"/>
          </p15:clr>
        </p15:guide>
        <p15:guide id="3" pos="480">
          <p15:clr>
            <a:srgbClr val="FDE53C"/>
          </p15:clr>
        </p15:guide>
        <p15:guide id="4" orient="horz" pos="3744">
          <p15:clr>
            <a:srgbClr val="FDE53C"/>
          </p15:clr>
        </p15:guide>
        <p15:guide id="5" orient="horz" pos="528">
          <p15:clr>
            <a:srgbClr val="FDE53C"/>
          </p15:clr>
        </p15:guide>
        <p15:guide id="6" pos="7224">
          <p15:clr>
            <a:srgbClr val="FDE53C"/>
          </p15:clr>
        </p15:guide>
        <p15:guide id="7" orient="horz" pos="1272">
          <p15:clr>
            <a:srgbClr val="FDE53C"/>
          </p15:clr>
        </p15:guide>
        <p15:guide id="8" pos="3984">
          <p15:clr>
            <a:srgbClr val="FDE53C"/>
          </p15:clr>
        </p15:guide>
        <p15:guide id="9" pos="3696">
          <p15:clr>
            <a:srgbClr val="FDE53C"/>
          </p15:clr>
        </p15:guide>
        <p15:guide id="10" orient="horz" pos="4152">
          <p15:clr>
            <a:srgbClr val="FDE53C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24603C8-8119-CA83-31CD-DCD2AC8638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4195602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9" imgW="473" imgH="473" progId="TCLayout.ActiveDocument.1">
                  <p:embed/>
                </p:oleObj>
              </mc:Choice>
              <mc:Fallback>
                <p:oleObj name="think-cell Slide" r:id="rId49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24603C8-8119-CA83-31CD-DCD2AC8638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4C9939A-617C-3E44-A0D0-909C79756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226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325974"/>
            <a:ext cx="11154344" cy="44566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F729D7-DBF0-1846-87E5-720E70F9E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7567" y="6356350"/>
            <a:ext cx="4189003" cy="1365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Vaccination Strategies Deck_VIS2024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18EB43-CEEF-AF40-88AE-32CEA15C6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51"/>
            <a:ext cx="261629" cy="13334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0680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  <p:sldLayoutId id="2147483900" r:id="rId12"/>
    <p:sldLayoutId id="2147483901" r:id="rId13"/>
    <p:sldLayoutId id="2147483902" r:id="rId14"/>
    <p:sldLayoutId id="2147483903" r:id="rId15"/>
    <p:sldLayoutId id="2147483904" r:id="rId16"/>
    <p:sldLayoutId id="2147483905" r:id="rId17"/>
    <p:sldLayoutId id="2147483906" r:id="rId18"/>
    <p:sldLayoutId id="2147483907" r:id="rId19"/>
    <p:sldLayoutId id="2147483908" r:id="rId20"/>
    <p:sldLayoutId id="2147483909" r:id="rId21"/>
    <p:sldLayoutId id="2147483910" r:id="rId22"/>
    <p:sldLayoutId id="2147483911" r:id="rId23"/>
    <p:sldLayoutId id="2147483912" r:id="rId24"/>
    <p:sldLayoutId id="2147483913" r:id="rId25"/>
    <p:sldLayoutId id="2147483914" r:id="rId26"/>
    <p:sldLayoutId id="2147483915" r:id="rId27"/>
    <p:sldLayoutId id="2147483916" r:id="rId28"/>
    <p:sldLayoutId id="2147483917" r:id="rId29"/>
    <p:sldLayoutId id="2147483918" r:id="rId30"/>
    <p:sldLayoutId id="2147483919" r:id="rId31"/>
    <p:sldLayoutId id="2147483920" r:id="rId32"/>
    <p:sldLayoutId id="2147483921" r:id="rId33"/>
    <p:sldLayoutId id="2147483922" r:id="rId34"/>
    <p:sldLayoutId id="2147483923" r:id="rId35"/>
    <p:sldLayoutId id="2147483924" r:id="rId36"/>
    <p:sldLayoutId id="2147483925" r:id="rId37"/>
    <p:sldLayoutId id="2147483926" r:id="rId38"/>
    <p:sldLayoutId id="2147483927" r:id="rId39"/>
    <p:sldLayoutId id="2147483928" r:id="rId40"/>
    <p:sldLayoutId id="2147483929" r:id="rId41"/>
    <p:sldLayoutId id="2147483930" r:id="rId42"/>
    <p:sldLayoutId id="2147483931" r:id="rId43"/>
    <p:sldLayoutId id="2147483932" r:id="rId44"/>
    <p:sldLayoutId id="2147483933" r:id="rId45"/>
    <p:sldLayoutId id="2147483934" r:id="rId4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>
          <p15:clr>
            <a:srgbClr val="F26B43"/>
          </p15:clr>
        </p15:guide>
        <p15:guide id="3" pos="7355">
          <p15:clr>
            <a:srgbClr val="F26B43"/>
          </p15:clr>
        </p15:guide>
        <p15:guide id="4" orient="horz" pos="232">
          <p15:clr>
            <a:srgbClr val="F26B43"/>
          </p15:clr>
        </p15:guide>
        <p15:guide id="5" orient="horz" pos="4088">
          <p15:clr>
            <a:srgbClr val="F26B43"/>
          </p15:clr>
        </p15:guide>
        <p15:guide id="7" orient="horz" pos="822">
          <p15:clr>
            <a:srgbClr val="F26B43"/>
          </p15:clr>
        </p15:guide>
        <p15:guide id="9" orient="horz" pos="37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84.xml"/><Relationship Id="rId4" Type="http://schemas.openxmlformats.org/officeDocument/2006/relationships/image" Target="../media/image44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85.xml"/><Relationship Id="rId4" Type="http://schemas.openxmlformats.org/officeDocument/2006/relationships/image" Target="../media/image43.emf"/></Relationships>
</file>

<file path=ppt/slides/_rels/slide12.xml.rels><?xml version="1.0" encoding="UTF-8" standalone="yes"?>
<Relationships xmlns="http://schemas.openxmlformats.org/package/2006/relationships"><Relationship Id="rId26" Type="http://schemas.openxmlformats.org/officeDocument/2006/relationships/tags" Target="../tags/tag111.xml"/><Relationship Id="rId21" Type="http://schemas.openxmlformats.org/officeDocument/2006/relationships/tags" Target="../tags/tag106.xml"/><Relationship Id="rId42" Type="http://schemas.openxmlformats.org/officeDocument/2006/relationships/tags" Target="../tags/tag127.xml"/><Relationship Id="rId47" Type="http://schemas.openxmlformats.org/officeDocument/2006/relationships/tags" Target="../tags/tag132.xml"/><Relationship Id="rId63" Type="http://schemas.openxmlformats.org/officeDocument/2006/relationships/tags" Target="../tags/tag148.xml"/><Relationship Id="rId68" Type="http://schemas.openxmlformats.org/officeDocument/2006/relationships/tags" Target="../tags/tag153.xml"/><Relationship Id="rId2" Type="http://schemas.openxmlformats.org/officeDocument/2006/relationships/tags" Target="../tags/tag87.xml"/><Relationship Id="rId16" Type="http://schemas.openxmlformats.org/officeDocument/2006/relationships/tags" Target="../tags/tag101.xml"/><Relationship Id="rId29" Type="http://schemas.openxmlformats.org/officeDocument/2006/relationships/tags" Target="../tags/tag114.xml"/><Relationship Id="rId11" Type="http://schemas.openxmlformats.org/officeDocument/2006/relationships/tags" Target="../tags/tag96.xml"/><Relationship Id="rId24" Type="http://schemas.openxmlformats.org/officeDocument/2006/relationships/tags" Target="../tags/tag109.xml"/><Relationship Id="rId32" Type="http://schemas.openxmlformats.org/officeDocument/2006/relationships/tags" Target="../tags/tag117.xml"/><Relationship Id="rId37" Type="http://schemas.openxmlformats.org/officeDocument/2006/relationships/tags" Target="../tags/tag122.xml"/><Relationship Id="rId40" Type="http://schemas.openxmlformats.org/officeDocument/2006/relationships/tags" Target="../tags/tag125.xml"/><Relationship Id="rId45" Type="http://schemas.openxmlformats.org/officeDocument/2006/relationships/tags" Target="../tags/tag130.xml"/><Relationship Id="rId53" Type="http://schemas.openxmlformats.org/officeDocument/2006/relationships/tags" Target="../tags/tag138.xml"/><Relationship Id="rId58" Type="http://schemas.openxmlformats.org/officeDocument/2006/relationships/tags" Target="../tags/tag143.xml"/><Relationship Id="rId66" Type="http://schemas.openxmlformats.org/officeDocument/2006/relationships/tags" Target="../tags/tag151.xml"/><Relationship Id="rId74" Type="http://schemas.openxmlformats.org/officeDocument/2006/relationships/slideLayout" Target="../slideLayouts/slideLayout21.xml"/><Relationship Id="rId5" Type="http://schemas.openxmlformats.org/officeDocument/2006/relationships/tags" Target="../tags/tag90.xml"/><Relationship Id="rId61" Type="http://schemas.openxmlformats.org/officeDocument/2006/relationships/tags" Target="../tags/tag146.xml"/><Relationship Id="rId19" Type="http://schemas.openxmlformats.org/officeDocument/2006/relationships/tags" Target="../tags/tag104.xml"/><Relationship Id="rId14" Type="http://schemas.openxmlformats.org/officeDocument/2006/relationships/tags" Target="../tags/tag99.xml"/><Relationship Id="rId22" Type="http://schemas.openxmlformats.org/officeDocument/2006/relationships/tags" Target="../tags/tag107.xml"/><Relationship Id="rId27" Type="http://schemas.openxmlformats.org/officeDocument/2006/relationships/tags" Target="../tags/tag112.xml"/><Relationship Id="rId30" Type="http://schemas.openxmlformats.org/officeDocument/2006/relationships/tags" Target="../tags/tag115.xml"/><Relationship Id="rId35" Type="http://schemas.openxmlformats.org/officeDocument/2006/relationships/tags" Target="../tags/tag120.xml"/><Relationship Id="rId43" Type="http://schemas.openxmlformats.org/officeDocument/2006/relationships/tags" Target="../tags/tag128.xml"/><Relationship Id="rId48" Type="http://schemas.openxmlformats.org/officeDocument/2006/relationships/tags" Target="../tags/tag133.xml"/><Relationship Id="rId56" Type="http://schemas.openxmlformats.org/officeDocument/2006/relationships/tags" Target="../tags/tag141.xml"/><Relationship Id="rId64" Type="http://schemas.openxmlformats.org/officeDocument/2006/relationships/tags" Target="../tags/tag149.xml"/><Relationship Id="rId69" Type="http://schemas.openxmlformats.org/officeDocument/2006/relationships/tags" Target="../tags/tag154.xml"/><Relationship Id="rId8" Type="http://schemas.openxmlformats.org/officeDocument/2006/relationships/tags" Target="../tags/tag93.xml"/><Relationship Id="rId51" Type="http://schemas.openxmlformats.org/officeDocument/2006/relationships/tags" Target="../tags/tag136.xml"/><Relationship Id="rId72" Type="http://schemas.openxmlformats.org/officeDocument/2006/relationships/tags" Target="../tags/tag157.xml"/><Relationship Id="rId3" Type="http://schemas.openxmlformats.org/officeDocument/2006/relationships/tags" Target="../tags/tag88.xml"/><Relationship Id="rId12" Type="http://schemas.openxmlformats.org/officeDocument/2006/relationships/tags" Target="../tags/tag97.xml"/><Relationship Id="rId17" Type="http://schemas.openxmlformats.org/officeDocument/2006/relationships/tags" Target="../tags/tag102.xml"/><Relationship Id="rId25" Type="http://schemas.openxmlformats.org/officeDocument/2006/relationships/tags" Target="../tags/tag110.xml"/><Relationship Id="rId33" Type="http://schemas.openxmlformats.org/officeDocument/2006/relationships/tags" Target="../tags/tag118.xml"/><Relationship Id="rId38" Type="http://schemas.openxmlformats.org/officeDocument/2006/relationships/tags" Target="../tags/tag123.xml"/><Relationship Id="rId46" Type="http://schemas.openxmlformats.org/officeDocument/2006/relationships/tags" Target="../tags/tag131.xml"/><Relationship Id="rId59" Type="http://schemas.openxmlformats.org/officeDocument/2006/relationships/tags" Target="../tags/tag144.xml"/><Relationship Id="rId67" Type="http://schemas.openxmlformats.org/officeDocument/2006/relationships/tags" Target="../tags/tag152.xml"/><Relationship Id="rId20" Type="http://schemas.openxmlformats.org/officeDocument/2006/relationships/tags" Target="../tags/tag105.xml"/><Relationship Id="rId41" Type="http://schemas.openxmlformats.org/officeDocument/2006/relationships/tags" Target="../tags/tag126.xml"/><Relationship Id="rId54" Type="http://schemas.openxmlformats.org/officeDocument/2006/relationships/tags" Target="../tags/tag139.xml"/><Relationship Id="rId62" Type="http://schemas.openxmlformats.org/officeDocument/2006/relationships/tags" Target="../tags/tag147.xml"/><Relationship Id="rId70" Type="http://schemas.openxmlformats.org/officeDocument/2006/relationships/tags" Target="../tags/tag155.xml"/><Relationship Id="rId75" Type="http://schemas.openxmlformats.org/officeDocument/2006/relationships/oleObject" Target="../embeddings/oleObject14.bin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5" Type="http://schemas.openxmlformats.org/officeDocument/2006/relationships/tags" Target="../tags/tag100.xml"/><Relationship Id="rId23" Type="http://schemas.openxmlformats.org/officeDocument/2006/relationships/tags" Target="../tags/tag108.xml"/><Relationship Id="rId28" Type="http://schemas.openxmlformats.org/officeDocument/2006/relationships/tags" Target="../tags/tag113.xml"/><Relationship Id="rId36" Type="http://schemas.openxmlformats.org/officeDocument/2006/relationships/tags" Target="../tags/tag121.xml"/><Relationship Id="rId49" Type="http://schemas.openxmlformats.org/officeDocument/2006/relationships/tags" Target="../tags/tag134.xml"/><Relationship Id="rId57" Type="http://schemas.openxmlformats.org/officeDocument/2006/relationships/tags" Target="../tags/tag142.xml"/><Relationship Id="rId10" Type="http://schemas.openxmlformats.org/officeDocument/2006/relationships/tags" Target="../tags/tag95.xml"/><Relationship Id="rId31" Type="http://schemas.openxmlformats.org/officeDocument/2006/relationships/tags" Target="../tags/tag116.xml"/><Relationship Id="rId44" Type="http://schemas.openxmlformats.org/officeDocument/2006/relationships/tags" Target="../tags/tag129.xml"/><Relationship Id="rId52" Type="http://schemas.openxmlformats.org/officeDocument/2006/relationships/tags" Target="../tags/tag137.xml"/><Relationship Id="rId60" Type="http://schemas.openxmlformats.org/officeDocument/2006/relationships/tags" Target="../tags/tag145.xml"/><Relationship Id="rId65" Type="http://schemas.openxmlformats.org/officeDocument/2006/relationships/tags" Target="../tags/tag150.xml"/><Relationship Id="rId73" Type="http://schemas.openxmlformats.org/officeDocument/2006/relationships/tags" Target="../tags/tag158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3" Type="http://schemas.openxmlformats.org/officeDocument/2006/relationships/tags" Target="../tags/tag98.xml"/><Relationship Id="rId18" Type="http://schemas.openxmlformats.org/officeDocument/2006/relationships/tags" Target="../tags/tag103.xml"/><Relationship Id="rId39" Type="http://schemas.openxmlformats.org/officeDocument/2006/relationships/tags" Target="../tags/tag124.xml"/><Relationship Id="rId34" Type="http://schemas.openxmlformats.org/officeDocument/2006/relationships/tags" Target="../tags/tag119.xml"/><Relationship Id="rId50" Type="http://schemas.openxmlformats.org/officeDocument/2006/relationships/tags" Target="../tags/tag135.xml"/><Relationship Id="rId55" Type="http://schemas.openxmlformats.org/officeDocument/2006/relationships/tags" Target="../tags/tag140.xml"/><Relationship Id="rId76" Type="http://schemas.openxmlformats.org/officeDocument/2006/relationships/image" Target="../media/image43.emf"/><Relationship Id="rId7" Type="http://schemas.openxmlformats.org/officeDocument/2006/relationships/tags" Target="../tags/tag92.xml"/><Relationship Id="rId71" Type="http://schemas.openxmlformats.org/officeDocument/2006/relationships/tags" Target="../tags/tag156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171.xml"/><Relationship Id="rId18" Type="http://schemas.openxmlformats.org/officeDocument/2006/relationships/tags" Target="../tags/tag176.xml"/><Relationship Id="rId26" Type="http://schemas.openxmlformats.org/officeDocument/2006/relationships/tags" Target="../tags/tag184.xml"/><Relationship Id="rId39" Type="http://schemas.openxmlformats.org/officeDocument/2006/relationships/tags" Target="../tags/tag197.xml"/><Relationship Id="rId21" Type="http://schemas.openxmlformats.org/officeDocument/2006/relationships/tags" Target="../tags/tag179.xml"/><Relationship Id="rId34" Type="http://schemas.openxmlformats.org/officeDocument/2006/relationships/tags" Target="../tags/tag192.xml"/><Relationship Id="rId42" Type="http://schemas.openxmlformats.org/officeDocument/2006/relationships/tags" Target="../tags/tag200.xml"/><Relationship Id="rId47" Type="http://schemas.openxmlformats.org/officeDocument/2006/relationships/tags" Target="../tags/tag205.xml"/><Relationship Id="rId50" Type="http://schemas.openxmlformats.org/officeDocument/2006/relationships/tags" Target="../tags/tag208.xml"/><Relationship Id="rId55" Type="http://schemas.openxmlformats.org/officeDocument/2006/relationships/oleObject" Target="../embeddings/oleObject15.bin"/><Relationship Id="rId7" Type="http://schemas.openxmlformats.org/officeDocument/2006/relationships/tags" Target="../tags/tag165.xml"/><Relationship Id="rId2" Type="http://schemas.openxmlformats.org/officeDocument/2006/relationships/tags" Target="../tags/tag160.xml"/><Relationship Id="rId16" Type="http://schemas.openxmlformats.org/officeDocument/2006/relationships/tags" Target="../tags/tag174.xml"/><Relationship Id="rId29" Type="http://schemas.openxmlformats.org/officeDocument/2006/relationships/tags" Target="../tags/tag187.xml"/><Relationship Id="rId11" Type="http://schemas.openxmlformats.org/officeDocument/2006/relationships/tags" Target="../tags/tag169.xml"/><Relationship Id="rId24" Type="http://schemas.openxmlformats.org/officeDocument/2006/relationships/tags" Target="../tags/tag182.xml"/><Relationship Id="rId32" Type="http://schemas.openxmlformats.org/officeDocument/2006/relationships/tags" Target="../tags/tag190.xml"/><Relationship Id="rId37" Type="http://schemas.openxmlformats.org/officeDocument/2006/relationships/tags" Target="../tags/tag195.xml"/><Relationship Id="rId40" Type="http://schemas.openxmlformats.org/officeDocument/2006/relationships/tags" Target="../tags/tag198.xml"/><Relationship Id="rId45" Type="http://schemas.openxmlformats.org/officeDocument/2006/relationships/tags" Target="../tags/tag203.xml"/><Relationship Id="rId53" Type="http://schemas.openxmlformats.org/officeDocument/2006/relationships/tags" Target="../tags/tag211.xml"/><Relationship Id="rId5" Type="http://schemas.openxmlformats.org/officeDocument/2006/relationships/tags" Target="../tags/tag163.xml"/><Relationship Id="rId10" Type="http://schemas.openxmlformats.org/officeDocument/2006/relationships/tags" Target="../tags/tag168.xml"/><Relationship Id="rId19" Type="http://schemas.openxmlformats.org/officeDocument/2006/relationships/tags" Target="../tags/tag177.xml"/><Relationship Id="rId31" Type="http://schemas.openxmlformats.org/officeDocument/2006/relationships/tags" Target="../tags/tag189.xml"/><Relationship Id="rId44" Type="http://schemas.openxmlformats.org/officeDocument/2006/relationships/tags" Target="../tags/tag202.xml"/><Relationship Id="rId52" Type="http://schemas.openxmlformats.org/officeDocument/2006/relationships/tags" Target="../tags/tag210.xml"/><Relationship Id="rId4" Type="http://schemas.openxmlformats.org/officeDocument/2006/relationships/tags" Target="../tags/tag162.xml"/><Relationship Id="rId9" Type="http://schemas.openxmlformats.org/officeDocument/2006/relationships/tags" Target="../tags/tag167.xml"/><Relationship Id="rId14" Type="http://schemas.openxmlformats.org/officeDocument/2006/relationships/tags" Target="../tags/tag172.xml"/><Relationship Id="rId22" Type="http://schemas.openxmlformats.org/officeDocument/2006/relationships/tags" Target="../tags/tag180.xml"/><Relationship Id="rId27" Type="http://schemas.openxmlformats.org/officeDocument/2006/relationships/tags" Target="../tags/tag185.xml"/><Relationship Id="rId30" Type="http://schemas.openxmlformats.org/officeDocument/2006/relationships/tags" Target="../tags/tag188.xml"/><Relationship Id="rId35" Type="http://schemas.openxmlformats.org/officeDocument/2006/relationships/tags" Target="../tags/tag193.xml"/><Relationship Id="rId43" Type="http://schemas.openxmlformats.org/officeDocument/2006/relationships/tags" Target="../tags/tag201.xml"/><Relationship Id="rId48" Type="http://schemas.openxmlformats.org/officeDocument/2006/relationships/tags" Target="../tags/tag206.xml"/><Relationship Id="rId56" Type="http://schemas.openxmlformats.org/officeDocument/2006/relationships/image" Target="../media/image43.emf"/><Relationship Id="rId8" Type="http://schemas.openxmlformats.org/officeDocument/2006/relationships/tags" Target="../tags/tag166.xml"/><Relationship Id="rId51" Type="http://schemas.openxmlformats.org/officeDocument/2006/relationships/tags" Target="../tags/tag209.xml"/><Relationship Id="rId3" Type="http://schemas.openxmlformats.org/officeDocument/2006/relationships/tags" Target="../tags/tag161.xml"/><Relationship Id="rId12" Type="http://schemas.openxmlformats.org/officeDocument/2006/relationships/tags" Target="../tags/tag170.xml"/><Relationship Id="rId17" Type="http://schemas.openxmlformats.org/officeDocument/2006/relationships/tags" Target="../tags/tag175.xml"/><Relationship Id="rId25" Type="http://schemas.openxmlformats.org/officeDocument/2006/relationships/tags" Target="../tags/tag183.xml"/><Relationship Id="rId33" Type="http://schemas.openxmlformats.org/officeDocument/2006/relationships/tags" Target="../tags/tag191.xml"/><Relationship Id="rId38" Type="http://schemas.openxmlformats.org/officeDocument/2006/relationships/tags" Target="../tags/tag196.xml"/><Relationship Id="rId46" Type="http://schemas.openxmlformats.org/officeDocument/2006/relationships/tags" Target="../tags/tag204.xml"/><Relationship Id="rId20" Type="http://schemas.openxmlformats.org/officeDocument/2006/relationships/tags" Target="../tags/tag178.xml"/><Relationship Id="rId41" Type="http://schemas.openxmlformats.org/officeDocument/2006/relationships/tags" Target="../tags/tag199.xml"/><Relationship Id="rId54" Type="http://schemas.openxmlformats.org/officeDocument/2006/relationships/slideLayout" Target="../slideLayouts/slideLayout21.xml"/><Relationship Id="rId1" Type="http://schemas.openxmlformats.org/officeDocument/2006/relationships/tags" Target="../tags/tag159.xml"/><Relationship Id="rId6" Type="http://schemas.openxmlformats.org/officeDocument/2006/relationships/tags" Target="../tags/tag164.xml"/><Relationship Id="rId15" Type="http://schemas.openxmlformats.org/officeDocument/2006/relationships/tags" Target="../tags/tag173.xml"/><Relationship Id="rId23" Type="http://schemas.openxmlformats.org/officeDocument/2006/relationships/tags" Target="../tags/tag181.xml"/><Relationship Id="rId28" Type="http://schemas.openxmlformats.org/officeDocument/2006/relationships/tags" Target="../tags/tag186.xml"/><Relationship Id="rId36" Type="http://schemas.openxmlformats.org/officeDocument/2006/relationships/tags" Target="../tags/tag194.xml"/><Relationship Id="rId49" Type="http://schemas.openxmlformats.org/officeDocument/2006/relationships/tags" Target="../tags/tag20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13" Type="http://schemas.openxmlformats.org/officeDocument/2006/relationships/tags" Target="../tags/tag224.xml"/><Relationship Id="rId18" Type="http://schemas.openxmlformats.org/officeDocument/2006/relationships/oleObject" Target="../embeddings/oleObject16.bin"/><Relationship Id="rId3" Type="http://schemas.openxmlformats.org/officeDocument/2006/relationships/tags" Target="../tags/tag214.xml"/><Relationship Id="rId7" Type="http://schemas.openxmlformats.org/officeDocument/2006/relationships/tags" Target="../tags/tag218.xml"/><Relationship Id="rId12" Type="http://schemas.openxmlformats.org/officeDocument/2006/relationships/tags" Target="../tags/tag223.xml"/><Relationship Id="rId17" Type="http://schemas.openxmlformats.org/officeDocument/2006/relationships/slideLayout" Target="../slideLayouts/slideLayout21.xml"/><Relationship Id="rId2" Type="http://schemas.openxmlformats.org/officeDocument/2006/relationships/tags" Target="../tags/tag213.xml"/><Relationship Id="rId16" Type="http://schemas.openxmlformats.org/officeDocument/2006/relationships/tags" Target="../tags/tag227.xml"/><Relationship Id="rId20" Type="http://schemas.openxmlformats.org/officeDocument/2006/relationships/chart" Target="../charts/chart1.xml"/><Relationship Id="rId1" Type="http://schemas.openxmlformats.org/officeDocument/2006/relationships/tags" Target="../tags/tag212.xml"/><Relationship Id="rId6" Type="http://schemas.openxmlformats.org/officeDocument/2006/relationships/tags" Target="../tags/tag217.xml"/><Relationship Id="rId11" Type="http://schemas.openxmlformats.org/officeDocument/2006/relationships/tags" Target="../tags/tag222.xml"/><Relationship Id="rId5" Type="http://schemas.openxmlformats.org/officeDocument/2006/relationships/tags" Target="../tags/tag216.xml"/><Relationship Id="rId15" Type="http://schemas.openxmlformats.org/officeDocument/2006/relationships/tags" Target="../tags/tag226.xml"/><Relationship Id="rId10" Type="http://schemas.openxmlformats.org/officeDocument/2006/relationships/tags" Target="../tags/tag221.xml"/><Relationship Id="rId19" Type="http://schemas.openxmlformats.org/officeDocument/2006/relationships/image" Target="../media/image43.emf"/><Relationship Id="rId4" Type="http://schemas.openxmlformats.org/officeDocument/2006/relationships/tags" Target="../tags/tag215.xml"/><Relationship Id="rId9" Type="http://schemas.openxmlformats.org/officeDocument/2006/relationships/tags" Target="../tags/tag220.xml"/><Relationship Id="rId14" Type="http://schemas.openxmlformats.org/officeDocument/2006/relationships/tags" Target="../tags/tag225.xml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240.xml"/><Relationship Id="rId18" Type="http://schemas.openxmlformats.org/officeDocument/2006/relationships/tags" Target="../tags/tag245.xml"/><Relationship Id="rId26" Type="http://schemas.openxmlformats.org/officeDocument/2006/relationships/tags" Target="../tags/tag253.xml"/><Relationship Id="rId39" Type="http://schemas.openxmlformats.org/officeDocument/2006/relationships/tags" Target="../tags/tag266.xml"/><Relationship Id="rId21" Type="http://schemas.openxmlformats.org/officeDocument/2006/relationships/tags" Target="../tags/tag248.xml"/><Relationship Id="rId34" Type="http://schemas.openxmlformats.org/officeDocument/2006/relationships/tags" Target="../tags/tag261.xml"/><Relationship Id="rId42" Type="http://schemas.openxmlformats.org/officeDocument/2006/relationships/tags" Target="../tags/tag269.xml"/><Relationship Id="rId47" Type="http://schemas.openxmlformats.org/officeDocument/2006/relationships/tags" Target="../tags/tag274.xml"/><Relationship Id="rId50" Type="http://schemas.openxmlformats.org/officeDocument/2006/relationships/tags" Target="../tags/tag277.xml"/><Relationship Id="rId55" Type="http://schemas.openxmlformats.org/officeDocument/2006/relationships/oleObject" Target="../embeddings/oleObject17.bin"/><Relationship Id="rId7" Type="http://schemas.openxmlformats.org/officeDocument/2006/relationships/tags" Target="../tags/tag234.xml"/><Relationship Id="rId2" Type="http://schemas.openxmlformats.org/officeDocument/2006/relationships/tags" Target="../tags/tag229.xml"/><Relationship Id="rId16" Type="http://schemas.openxmlformats.org/officeDocument/2006/relationships/tags" Target="../tags/tag243.xml"/><Relationship Id="rId29" Type="http://schemas.openxmlformats.org/officeDocument/2006/relationships/tags" Target="../tags/tag256.xml"/><Relationship Id="rId11" Type="http://schemas.openxmlformats.org/officeDocument/2006/relationships/tags" Target="../tags/tag238.xml"/><Relationship Id="rId24" Type="http://schemas.openxmlformats.org/officeDocument/2006/relationships/tags" Target="../tags/tag251.xml"/><Relationship Id="rId32" Type="http://schemas.openxmlformats.org/officeDocument/2006/relationships/tags" Target="../tags/tag259.xml"/><Relationship Id="rId37" Type="http://schemas.openxmlformats.org/officeDocument/2006/relationships/tags" Target="../tags/tag264.xml"/><Relationship Id="rId40" Type="http://schemas.openxmlformats.org/officeDocument/2006/relationships/tags" Target="../tags/tag267.xml"/><Relationship Id="rId45" Type="http://schemas.openxmlformats.org/officeDocument/2006/relationships/tags" Target="../tags/tag272.xml"/><Relationship Id="rId53" Type="http://schemas.openxmlformats.org/officeDocument/2006/relationships/tags" Target="../tags/tag280.xml"/><Relationship Id="rId5" Type="http://schemas.openxmlformats.org/officeDocument/2006/relationships/tags" Target="../tags/tag232.xml"/><Relationship Id="rId19" Type="http://schemas.openxmlformats.org/officeDocument/2006/relationships/tags" Target="../tags/tag246.xml"/><Relationship Id="rId4" Type="http://schemas.openxmlformats.org/officeDocument/2006/relationships/tags" Target="../tags/tag231.xml"/><Relationship Id="rId9" Type="http://schemas.openxmlformats.org/officeDocument/2006/relationships/tags" Target="../tags/tag236.xml"/><Relationship Id="rId14" Type="http://schemas.openxmlformats.org/officeDocument/2006/relationships/tags" Target="../tags/tag241.xml"/><Relationship Id="rId22" Type="http://schemas.openxmlformats.org/officeDocument/2006/relationships/tags" Target="../tags/tag249.xml"/><Relationship Id="rId27" Type="http://schemas.openxmlformats.org/officeDocument/2006/relationships/tags" Target="../tags/tag254.xml"/><Relationship Id="rId30" Type="http://schemas.openxmlformats.org/officeDocument/2006/relationships/tags" Target="../tags/tag257.xml"/><Relationship Id="rId35" Type="http://schemas.openxmlformats.org/officeDocument/2006/relationships/tags" Target="../tags/tag262.xml"/><Relationship Id="rId43" Type="http://schemas.openxmlformats.org/officeDocument/2006/relationships/tags" Target="../tags/tag270.xml"/><Relationship Id="rId48" Type="http://schemas.openxmlformats.org/officeDocument/2006/relationships/tags" Target="../tags/tag275.xml"/><Relationship Id="rId56" Type="http://schemas.openxmlformats.org/officeDocument/2006/relationships/image" Target="../media/image43.emf"/><Relationship Id="rId8" Type="http://schemas.openxmlformats.org/officeDocument/2006/relationships/tags" Target="../tags/tag235.xml"/><Relationship Id="rId51" Type="http://schemas.openxmlformats.org/officeDocument/2006/relationships/tags" Target="../tags/tag278.xml"/><Relationship Id="rId3" Type="http://schemas.openxmlformats.org/officeDocument/2006/relationships/tags" Target="../tags/tag230.xml"/><Relationship Id="rId12" Type="http://schemas.openxmlformats.org/officeDocument/2006/relationships/tags" Target="../tags/tag239.xml"/><Relationship Id="rId17" Type="http://schemas.openxmlformats.org/officeDocument/2006/relationships/tags" Target="../tags/tag244.xml"/><Relationship Id="rId25" Type="http://schemas.openxmlformats.org/officeDocument/2006/relationships/tags" Target="../tags/tag252.xml"/><Relationship Id="rId33" Type="http://schemas.openxmlformats.org/officeDocument/2006/relationships/tags" Target="../tags/tag260.xml"/><Relationship Id="rId38" Type="http://schemas.openxmlformats.org/officeDocument/2006/relationships/tags" Target="../tags/tag265.xml"/><Relationship Id="rId46" Type="http://schemas.openxmlformats.org/officeDocument/2006/relationships/tags" Target="../tags/tag273.xml"/><Relationship Id="rId20" Type="http://schemas.openxmlformats.org/officeDocument/2006/relationships/tags" Target="../tags/tag247.xml"/><Relationship Id="rId41" Type="http://schemas.openxmlformats.org/officeDocument/2006/relationships/tags" Target="../tags/tag268.xml"/><Relationship Id="rId54" Type="http://schemas.openxmlformats.org/officeDocument/2006/relationships/slideLayout" Target="../slideLayouts/slideLayout21.xml"/><Relationship Id="rId1" Type="http://schemas.openxmlformats.org/officeDocument/2006/relationships/tags" Target="../tags/tag228.xml"/><Relationship Id="rId6" Type="http://schemas.openxmlformats.org/officeDocument/2006/relationships/tags" Target="../tags/tag233.xml"/><Relationship Id="rId15" Type="http://schemas.openxmlformats.org/officeDocument/2006/relationships/tags" Target="../tags/tag242.xml"/><Relationship Id="rId23" Type="http://schemas.openxmlformats.org/officeDocument/2006/relationships/tags" Target="../tags/tag250.xml"/><Relationship Id="rId28" Type="http://schemas.openxmlformats.org/officeDocument/2006/relationships/tags" Target="../tags/tag255.xml"/><Relationship Id="rId36" Type="http://schemas.openxmlformats.org/officeDocument/2006/relationships/tags" Target="../tags/tag263.xml"/><Relationship Id="rId49" Type="http://schemas.openxmlformats.org/officeDocument/2006/relationships/tags" Target="../tags/tag276.xml"/><Relationship Id="rId57" Type="http://schemas.openxmlformats.org/officeDocument/2006/relationships/chart" Target="../charts/chart2.xml"/><Relationship Id="rId10" Type="http://schemas.openxmlformats.org/officeDocument/2006/relationships/tags" Target="../tags/tag237.xml"/><Relationship Id="rId31" Type="http://schemas.openxmlformats.org/officeDocument/2006/relationships/tags" Target="../tags/tag258.xml"/><Relationship Id="rId44" Type="http://schemas.openxmlformats.org/officeDocument/2006/relationships/tags" Target="../tags/tag271.xml"/><Relationship Id="rId52" Type="http://schemas.openxmlformats.org/officeDocument/2006/relationships/tags" Target="../tags/tag27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288.xml"/><Relationship Id="rId13" Type="http://schemas.openxmlformats.org/officeDocument/2006/relationships/tags" Target="../tags/tag293.xml"/><Relationship Id="rId18" Type="http://schemas.openxmlformats.org/officeDocument/2006/relationships/tags" Target="../tags/tag298.xml"/><Relationship Id="rId26" Type="http://schemas.openxmlformats.org/officeDocument/2006/relationships/chart" Target="../charts/chart3.xml"/><Relationship Id="rId3" Type="http://schemas.openxmlformats.org/officeDocument/2006/relationships/tags" Target="../tags/tag283.xml"/><Relationship Id="rId21" Type="http://schemas.openxmlformats.org/officeDocument/2006/relationships/tags" Target="../tags/tag301.xml"/><Relationship Id="rId7" Type="http://schemas.openxmlformats.org/officeDocument/2006/relationships/tags" Target="../tags/tag287.xml"/><Relationship Id="rId12" Type="http://schemas.openxmlformats.org/officeDocument/2006/relationships/tags" Target="../tags/tag292.xml"/><Relationship Id="rId17" Type="http://schemas.openxmlformats.org/officeDocument/2006/relationships/tags" Target="../tags/tag297.xml"/><Relationship Id="rId25" Type="http://schemas.openxmlformats.org/officeDocument/2006/relationships/image" Target="../media/image43.emf"/><Relationship Id="rId2" Type="http://schemas.openxmlformats.org/officeDocument/2006/relationships/tags" Target="../tags/tag282.xml"/><Relationship Id="rId16" Type="http://schemas.openxmlformats.org/officeDocument/2006/relationships/tags" Target="../tags/tag296.xml"/><Relationship Id="rId20" Type="http://schemas.openxmlformats.org/officeDocument/2006/relationships/tags" Target="../tags/tag300.xml"/><Relationship Id="rId1" Type="http://schemas.openxmlformats.org/officeDocument/2006/relationships/tags" Target="../tags/tag281.xml"/><Relationship Id="rId6" Type="http://schemas.openxmlformats.org/officeDocument/2006/relationships/tags" Target="../tags/tag286.xml"/><Relationship Id="rId11" Type="http://schemas.openxmlformats.org/officeDocument/2006/relationships/tags" Target="../tags/tag291.xml"/><Relationship Id="rId24" Type="http://schemas.openxmlformats.org/officeDocument/2006/relationships/oleObject" Target="../embeddings/oleObject18.bin"/><Relationship Id="rId5" Type="http://schemas.openxmlformats.org/officeDocument/2006/relationships/tags" Target="../tags/tag285.xml"/><Relationship Id="rId15" Type="http://schemas.openxmlformats.org/officeDocument/2006/relationships/tags" Target="../tags/tag295.xml"/><Relationship Id="rId23" Type="http://schemas.openxmlformats.org/officeDocument/2006/relationships/slideLayout" Target="../slideLayouts/slideLayout20.xml"/><Relationship Id="rId10" Type="http://schemas.openxmlformats.org/officeDocument/2006/relationships/tags" Target="../tags/tag290.xml"/><Relationship Id="rId19" Type="http://schemas.openxmlformats.org/officeDocument/2006/relationships/tags" Target="../tags/tag299.xml"/><Relationship Id="rId4" Type="http://schemas.openxmlformats.org/officeDocument/2006/relationships/tags" Target="../tags/tag284.xml"/><Relationship Id="rId9" Type="http://schemas.openxmlformats.org/officeDocument/2006/relationships/tags" Target="../tags/tag289.xml"/><Relationship Id="rId14" Type="http://schemas.openxmlformats.org/officeDocument/2006/relationships/tags" Target="../tags/tag294.xml"/><Relationship Id="rId22" Type="http://schemas.openxmlformats.org/officeDocument/2006/relationships/tags" Target="../tags/tag302.xml"/><Relationship Id="rId27" Type="http://schemas.openxmlformats.org/officeDocument/2006/relationships/chart" Target="../charts/chart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310.xml"/><Relationship Id="rId13" Type="http://schemas.openxmlformats.org/officeDocument/2006/relationships/tags" Target="../tags/tag315.xml"/><Relationship Id="rId18" Type="http://schemas.openxmlformats.org/officeDocument/2006/relationships/tags" Target="../tags/tag320.xml"/><Relationship Id="rId26" Type="http://schemas.openxmlformats.org/officeDocument/2006/relationships/image" Target="../media/image45.emf"/><Relationship Id="rId3" Type="http://schemas.openxmlformats.org/officeDocument/2006/relationships/tags" Target="../tags/tag305.xml"/><Relationship Id="rId21" Type="http://schemas.openxmlformats.org/officeDocument/2006/relationships/tags" Target="../tags/tag323.xml"/><Relationship Id="rId7" Type="http://schemas.openxmlformats.org/officeDocument/2006/relationships/tags" Target="../tags/tag309.xml"/><Relationship Id="rId12" Type="http://schemas.openxmlformats.org/officeDocument/2006/relationships/tags" Target="../tags/tag314.xml"/><Relationship Id="rId17" Type="http://schemas.openxmlformats.org/officeDocument/2006/relationships/tags" Target="../tags/tag319.xml"/><Relationship Id="rId25" Type="http://schemas.openxmlformats.org/officeDocument/2006/relationships/oleObject" Target="../embeddings/oleObject19.bin"/><Relationship Id="rId2" Type="http://schemas.openxmlformats.org/officeDocument/2006/relationships/tags" Target="../tags/tag304.xml"/><Relationship Id="rId16" Type="http://schemas.openxmlformats.org/officeDocument/2006/relationships/tags" Target="../tags/tag318.xml"/><Relationship Id="rId20" Type="http://schemas.openxmlformats.org/officeDocument/2006/relationships/tags" Target="../tags/tag322.xml"/><Relationship Id="rId1" Type="http://schemas.openxmlformats.org/officeDocument/2006/relationships/tags" Target="../tags/tag303.xml"/><Relationship Id="rId6" Type="http://schemas.openxmlformats.org/officeDocument/2006/relationships/tags" Target="../tags/tag308.xml"/><Relationship Id="rId11" Type="http://schemas.openxmlformats.org/officeDocument/2006/relationships/tags" Target="../tags/tag313.xml"/><Relationship Id="rId24" Type="http://schemas.openxmlformats.org/officeDocument/2006/relationships/slideLayout" Target="../slideLayouts/slideLayout21.xml"/><Relationship Id="rId5" Type="http://schemas.openxmlformats.org/officeDocument/2006/relationships/tags" Target="../tags/tag307.xml"/><Relationship Id="rId15" Type="http://schemas.openxmlformats.org/officeDocument/2006/relationships/tags" Target="../tags/tag317.xml"/><Relationship Id="rId23" Type="http://schemas.openxmlformats.org/officeDocument/2006/relationships/tags" Target="../tags/tag325.xml"/><Relationship Id="rId10" Type="http://schemas.openxmlformats.org/officeDocument/2006/relationships/tags" Target="../tags/tag312.xml"/><Relationship Id="rId19" Type="http://schemas.openxmlformats.org/officeDocument/2006/relationships/tags" Target="../tags/tag321.xml"/><Relationship Id="rId4" Type="http://schemas.openxmlformats.org/officeDocument/2006/relationships/tags" Target="../tags/tag306.xml"/><Relationship Id="rId9" Type="http://schemas.openxmlformats.org/officeDocument/2006/relationships/tags" Target="../tags/tag311.xml"/><Relationship Id="rId14" Type="http://schemas.openxmlformats.org/officeDocument/2006/relationships/tags" Target="../tags/tag316.xml"/><Relationship Id="rId22" Type="http://schemas.openxmlformats.org/officeDocument/2006/relationships/tags" Target="../tags/tag324.xml"/><Relationship Id="rId27" Type="http://schemas.openxmlformats.org/officeDocument/2006/relationships/chart" Target="../charts/chart5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338.xml"/><Relationship Id="rId18" Type="http://schemas.openxmlformats.org/officeDocument/2006/relationships/tags" Target="../tags/tag343.xml"/><Relationship Id="rId26" Type="http://schemas.openxmlformats.org/officeDocument/2006/relationships/tags" Target="../tags/tag351.xml"/><Relationship Id="rId3" Type="http://schemas.openxmlformats.org/officeDocument/2006/relationships/tags" Target="../tags/tag328.xml"/><Relationship Id="rId21" Type="http://schemas.openxmlformats.org/officeDocument/2006/relationships/tags" Target="../tags/tag346.xml"/><Relationship Id="rId7" Type="http://schemas.openxmlformats.org/officeDocument/2006/relationships/tags" Target="../tags/tag332.xml"/><Relationship Id="rId12" Type="http://schemas.openxmlformats.org/officeDocument/2006/relationships/tags" Target="../tags/tag337.xml"/><Relationship Id="rId17" Type="http://schemas.openxmlformats.org/officeDocument/2006/relationships/tags" Target="../tags/tag342.xml"/><Relationship Id="rId25" Type="http://schemas.openxmlformats.org/officeDocument/2006/relationships/tags" Target="../tags/tag350.xml"/><Relationship Id="rId33" Type="http://schemas.openxmlformats.org/officeDocument/2006/relationships/chart" Target="../charts/chart6.xml"/><Relationship Id="rId2" Type="http://schemas.openxmlformats.org/officeDocument/2006/relationships/tags" Target="../tags/tag327.xml"/><Relationship Id="rId16" Type="http://schemas.openxmlformats.org/officeDocument/2006/relationships/tags" Target="../tags/tag341.xml"/><Relationship Id="rId20" Type="http://schemas.openxmlformats.org/officeDocument/2006/relationships/tags" Target="../tags/tag345.xml"/><Relationship Id="rId29" Type="http://schemas.openxmlformats.org/officeDocument/2006/relationships/tags" Target="../tags/tag354.xml"/><Relationship Id="rId1" Type="http://schemas.openxmlformats.org/officeDocument/2006/relationships/tags" Target="../tags/tag326.xml"/><Relationship Id="rId6" Type="http://schemas.openxmlformats.org/officeDocument/2006/relationships/tags" Target="../tags/tag331.xml"/><Relationship Id="rId11" Type="http://schemas.openxmlformats.org/officeDocument/2006/relationships/tags" Target="../tags/tag336.xml"/><Relationship Id="rId24" Type="http://schemas.openxmlformats.org/officeDocument/2006/relationships/tags" Target="../tags/tag349.xml"/><Relationship Id="rId32" Type="http://schemas.openxmlformats.org/officeDocument/2006/relationships/image" Target="../media/image43.emf"/><Relationship Id="rId5" Type="http://schemas.openxmlformats.org/officeDocument/2006/relationships/tags" Target="../tags/tag330.xml"/><Relationship Id="rId15" Type="http://schemas.openxmlformats.org/officeDocument/2006/relationships/tags" Target="../tags/tag340.xml"/><Relationship Id="rId23" Type="http://schemas.openxmlformats.org/officeDocument/2006/relationships/tags" Target="../tags/tag348.xml"/><Relationship Id="rId28" Type="http://schemas.openxmlformats.org/officeDocument/2006/relationships/tags" Target="../tags/tag353.xml"/><Relationship Id="rId10" Type="http://schemas.openxmlformats.org/officeDocument/2006/relationships/tags" Target="../tags/tag335.xml"/><Relationship Id="rId19" Type="http://schemas.openxmlformats.org/officeDocument/2006/relationships/tags" Target="../tags/tag344.xml"/><Relationship Id="rId31" Type="http://schemas.openxmlformats.org/officeDocument/2006/relationships/oleObject" Target="../embeddings/oleObject20.bin"/><Relationship Id="rId4" Type="http://schemas.openxmlformats.org/officeDocument/2006/relationships/tags" Target="../tags/tag329.xml"/><Relationship Id="rId9" Type="http://schemas.openxmlformats.org/officeDocument/2006/relationships/tags" Target="../tags/tag334.xml"/><Relationship Id="rId14" Type="http://schemas.openxmlformats.org/officeDocument/2006/relationships/tags" Target="../tags/tag339.xml"/><Relationship Id="rId22" Type="http://schemas.openxmlformats.org/officeDocument/2006/relationships/tags" Target="../tags/tag347.xml"/><Relationship Id="rId27" Type="http://schemas.openxmlformats.org/officeDocument/2006/relationships/tags" Target="../tags/tag352.xml"/><Relationship Id="rId30" Type="http://schemas.openxmlformats.org/officeDocument/2006/relationships/slideLayout" Target="../slideLayouts/slideLayout20.xml"/><Relationship Id="rId8" Type="http://schemas.openxmlformats.org/officeDocument/2006/relationships/tags" Target="../tags/tag3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66.xml"/><Relationship Id="rId1" Type="http://schemas.openxmlformats.org/officeDocument/2006/relationships/tags" Target="../tags/tag355.xml"/><Relationship Id="rId4" Type="http://schemas.openxmlformats.org/officeDocument/2006/relationships/image" Target="../media/image43.emf"/></Relationships>
</file>

<file path=ppt/slides/_rels/slide21.xml.rels><?xml version="1.0" encoding="UTF-8" standalone="yes"?>
<Relationships xmlns="http://schemas.openxmlformats.org/package/2006/relationships"><Relationship Id="rId26" Type="http://schemas.openxmlformats.org/officeDocument/2006/relationships/tags" Target="../tags/tag381.xml"/><Relationship Id="rId21" Type="http://schemas.openxmlformats.org/officeDocument/2006/relationships/tags" Target="../tags/tag376.xml"/><Relationship Id="rId42" Type="http://schemas.openxmlformats.org/officeDocument/2006/relationships/tags" Target="../tags/tag397.xml"/><Relationship Id="rId47" Type="http://schemas.openxmlformats.org/officeDocument/2006/relationships/tags" Target="../tags/tag402.xml"/><Relationship Id="rId63" Type="http://schemas.openxmlformats.org/officeDocument/2006/relationships/tags" Target="../tags/tag418.xml"/><Relationship Id="rId68" Type="http://schemas.openxmlformats.org/officeDocument/2006/relationships/tags" Target="../tags/tag423.xml"/><Relationship Id="rId2" Type="http://schemas.openxmlformats.org/officeDocument/2006/relationships/tags" Target="../tags/tag357.xml"/><Relationship Id="rId16" Type="http://schemas.openxmlformats.org/officeDocument/2006/relationships/tags" Target="../tags/tag371.xml"/><Relationship Id="rId29" Type="http://schemas.openxmlformats.org/officeDocument/2006/relationships/tags" Target="../tags/tag384.xml"/><Relationship Id="rId11" Type="http://schemas.openxmlformats.org/officeDocument/2006/relationships/tags" Target="../tags/tag366.xml"/><Relationship Id="rId24" Type="http://schemas.openxmlformats.org/officeDocument/2006/relationships/tags" Target="../tags/tag379.xml"/><Relationship Id="rId32" Type="http://schemas.openxmlformats.org/officeDocument/2006/relationships/tags" Target="../tags/tag387.xml"/><Relationship Id="rId37" Type="http://schemas.openxmlformats.org/officeDocument/2006/relationships/tags" Target="../tags/tag392.xml"/><Relationship Id="rId40" Type="http://schemas.openxmlformats.org/officeDocument/2006/relationships/tags" Target="../tags/tag395.xml"/><Relationship Id="rId45" Type="http://schemas.openxmlformats.org/officeDocument/2006/relationships/tags" Target="../tags/tag400.xml"/><Relationship Id="rId53" Type="http://schemas.openxmlformats.org/officeDocument/2006/relationships/tags" Target="../tags/tag408.xml"/><Relationship Id="rId58" Type="http://schemas.openxmlformats.org/officeDocument/2006/relationships/tags" Target="../tags/tag413.xml"/><Relationship Id="rId66" Type="http://schemas.openxmlformats.org/officeDocument/2006/relationships/tags" Target="../tags/tag421.xml"/><Relationship Id="rId5" Type="http://schemas.openxmlformats.org/officeDocument/2006/relationships/tags" Target="../tags/tag360.xml"/><Relationship Id="rId61" Type="http://schemas.openxmlformats.org/officeDocument/2006/relationships/tags" Target="../tags/tag416.xml"/><Relationship Id="rId19" Type="http://schemas.openxmlformats.org/officeDocument/2006/relationships/tags" Target="../tags/tag374.xml"/><Relationship Id="rId14" Type="http://schemas.openxmlformats.org/officeDocument/2006/relationships/tags" Target="../tags/tag369.xml"/><Relationship Id="rId22" Type="http://schemas.openxmlformats.org/officeDocument/2006/relationships/tags" Target="../tags/tag377.xml"/><Relationship Id="rId27" Type="http://schemas.openxmlformats.org/officeDocument/2006/relationships/tags" Target="../tags/tag382.xml"/><Relationship Id="rId30" Type="http://schemas.openxmlformats.org/officeDocument/2006/relationships/tags" Target="../tags/tag385.xml"/><Relationship Id="rId35" Type="http://schemas.openxmlformats.org/officeDocument/2006/relationships/tags" Target="../tags/tag390.xml"/><Relationship Id="rId43" Type="http://schemas.openxmlformats.org/officeDocument/2006/relationships/tags" Target="../tags/tag398.xml"/><Relationship Id="rId48" Type="http://schemas.openxmlformats.org/officeDocument/2006/relationships/tags" Target="../tags/tag403.xml"/><Relationship Id="rId56" Type="http://schemas.openxmlformats.org/officeDocument/2006/relationships/tags" Target="../tags/tag411.xml"/><Relationship Id="rId64" Type="http://schemas.openxmlformats.org/officeDocument/2006/relationships/tags" Target="../tags/tag419.xml"/><Relationship Id="rId69" Type="http://schemas.openxmlformats.org/officeDocument/2006/relationships/slideLayout" Target="../slideLayouts/slideLayout27.xml"/><Relationship Id="rId8" Type="http://schemas.openxmlformats.org/officeDocument/2006/relationships/tags" Target="../tags/tag363.xml"/><Relationship Id="rId51" Type="http://schemas.openxmlformats.org/officeDocument/2006/relationships/tags" Target="../tags/tag406.xml"/><Relationship Id="rId72" Type="http://schemas.openxmlformats.org/officeDocument/2006/relationships/chart" Target="../charts/chart7.xml"/><Relationship Id="rId3" Type="http://schemas.openxmlformats.org/officeDocument/2006/relationships/tags" Target="../tags/tag358.xml"/><Relationship Id="rId12" Type="http://schemas.openxmlformats.org/officeDocument/2006/relationships/tags" Target="../tags/tag367.xml"/><Relationship Id="rId17" Type="http://schemas.openxmlformats.org/officeDocument/2006/relationships/tags" Target="../tags/tag372.xml"/><Relationship Id="rId25" Type="http://schemas.openxmlformats.org/officeDocument/2006/relationships/tags" Target="../tags/tag380.xml"/><Relationship Id="rId33" Type="http://schemas.openxmlformats.org/officeDocument/2006/relationships/tags" Target="../tags/tag388.xml"/><Relationship Id="rId38" Type="http://schemas.openxmlformats.org/officeDocument/2006/relationships/tags" Target="../tags/tag393.xml"/><Relationship Id="rId46" Type="http://schemas.openxmlformats.org/officeDocument/2006/relationships/tags" Target="../tags/tag401.xml"/><Relationship Id="rId59" Type="http://schemas.openxmlformats.org/officeDocument/2006/relationships/tags" Target="../tags/tag414.xml"/><Relationship Id="rId67" Type="http://schemas.openxmlformats.org/officeDocument/2006/relationships/tags" Target="../tags/tag422.xml"/><Relationship Id="rId20" Type="http://schemas.openxmlformats.org/officeDocument/2006/relationships/tags" Target="../tags/tag375.xml"/><Relationship Id="rId41" Type="http://schemas.openxmlformats.org/officeDocument/2006/relationships/tags" Target="../tags/tag396.xml"/><Relationship Id="rId54" Type="http://schemas.openxmlformats.org/officeDocument/2006/relationships/tags" Target="../tags/tag409.xml"/><Relationship Id="rId62" Type="http://schemas.openxmlformats.org/officeDocument/2006/relationships/tags" Target="../tags/tag417.xml"/><Relationship Id="rId70" Type="http://schemas.openxmlformats.org/officeDocument/2006/relationships/oleObject" Target="../embeddings/oleObject22.bin"/><Relationship Id="rId1" Type="http://schemas.openxmlformats.org/officeDocument/2006/relationships/tags" Target="../tags/tag356.xml"/><Relationship Id="rId6" Type="http://schemas.openxmlformats.org/officeDocument/2006/relationships/tags" Target="../tags/tag361.xml"/><Relationship Id="rId15" Type="http://schemas.openxmlformats.org/officeDocument/2006/relationships/tags" Target="../tags/tag370.xml"/><Relationship Id="rId23" Type="http://schemas.openxmlformats.org/officeDocument/2006/relationships/tags" Target="../tags/tag378.xml"/><Relationship Id="rId28" Type="http://schemas.openxmlformats.org/officeDocument/2006/relationships/tags" Target="../tags/tag383.xml"/><Relationship Id="rId36" Type="http://schemas.openxmlformats.org/officeDocument/2006/relationships/tags" Target="../tags/tag391.xml"/><Relationship Id="rId49" Type="http://schemas.openxmlformats.org/officeDocument/2006/relationships/tags" Target="../tags/tag404.xml"/><Relationship Id="rId57" Type="http://schemas.openxmlformats.org/officeDocument/2006/relationships/tags" Target="../tags/tag412.xml"/><Relationship Id="rId10" Type="http://schemas.openxmlformats.org/officeDocument/2006/relationships/tags" Target="../tags/tag365.xml"/><Relationship Id="rId31" Type="http://schemas.openxmlformats.org/officeDocument/2006/relationships/tags" Target="../tags/tag386.xml"/><Relationship Id="rId44" Type="http://schemas.openxmlformats.org/officeDocument/2006/relationships/tags" Target="../tags/tag399.xml"/><Relationship Id="rId52" Type="http://schemas.openxmlformats.org/officeDocument/2006/relationships/tags" Target="../tags/tag407.xml"/><Relationship Id="rId60" Type="http://schemas.openxmlformats.org/officeDocument/2006/relationships/tags" Target="../tags/tag415.xml"/><Relationship Id="rId65" Type="http://schemas.openxmlformats.org/officeDocument/2006/relationships/tags" Target="../tags/tag420.xml"/><Relationship Id="rId73" Type="http://schemas.openxmlformats.org/officeDocument/2006/relationships/chart" Target="../charts/chart8.xml"/><Relationship Id="rId4" Type="http://schemas.openxmlformats.org/officeDocument/2006/relationships/tags" Target="../tags/tag359.xml"/><Relationship Id="rId9" Type="http://schemas.openxmlformats.org/officeDocument/2006/relationships/tags" Target="../tags/tag364.xml"/><Relationship Id="rId13" Type="http://schemas.openxmlformats.org/officeDocument/2006/relationships/tags" Target="../tags/tag368.xml"/><Relationship Id="rId18" Type="http://schemas.openxmlformats.org/officeDocument/2006/relationships/tags" Target="../tags/tag373.xml"/><Relationship Id="rId39" Type="http://schemas.openxmlformats.org/officeDocument/2006/relationships/tags" Target="../tags/tag394.xml"/><Relationship Id="rId34" Type="http://schemas.openxmlformats.org/officeDocument/2006/relationships/tags" Target="../tags/tag389.xml"/><Relationship Id="rId50" Type="http://schemas.openxmlformats.org/officeDocument/2006/relationships/tags" Target="../tags/tag405.xml"/><Relationship Id="rId55" Type="http://schemas.openxmlformats.org/officeDocument/2006/relationships/tags" Target="../tags/tag410.xml"/><Relationship Id="rId7" Type="http://schemas.openxmlformats.org/officeDocument/2006/relationships/tags" Target="../tags/tag362.xml"/><Relationship Id="rId71" Type="http://schemas.openxmlformats.org/officeDocument/2006/relationships/image" Target="../media/image43.emf"/></Relationships>
</file>

<file path=ppt/slides/_rels/slide22.xml.rels><?xml version="1.0" encoding="UTF-8" standalone="yes"?>
<Relationships xmlns="http://schemas.openxmlformats.org/package/2006/relationships"><Relationship Id="rId26" Type="http://schemas.openxmlformats.org/officeDocument/2006/relationships/tags" Target="../tags/tag449.xml"/><Relationship Id="rId21" Type="http://schemas.openxmlformats.org/officeDocument/2006/relationships/tags" Target="../tags/tag444.xml"/><Relationship Id="rId42" Type="http://schemas.openxmlformats.org/officeDocument/2006/relationships/tags" Target="../tags/tag465.xml"/><Relationship Id="rId47" Type="http://schemas.openxmlformats.org/officeDocument/2006/relationships/tags" Target="../tags/tag470.xml"/><Relationship Id="rId63" Type="http://schemas.openxmlformats.org/officeDocument/2006/relationships/tags" Target="../tags/tag486.xml"/><Relationship Id="rId68" Type="http://schemas.openxmlformats.org/officeDocument/2006/relationships/tags" Target="../tags/tag491.xml"/><Relationship Id="rId16" Type="http://schemas.openxmlformats.org/officeDocument/2006/relationships/tags" Target="../tags/tag439.xml"/><Relationship Id="rId11" Type="http://schemas.openxmlformats.org/officeDocument/2006/relationships/tags" Target="../tags/tag434.xml"/><Relationship Id="rId24" Type="http://schemas.openxmlformats.org/officeDocument/2006/relationships/tags" Target="../tags/tag447.xml"/><Relationship Id="rId32" Type="http://schemas.openxmlformats.org/officeDocument/2006/relationships/tags" Target="../tags/tag455.xml"/><Relationship Id="rId37" Type="http://schemas.openxmlformats.org/officeDocument/2006/relationships/tags" Target="../tags/tag460.xml"/><Relationship Id="rId40" Type="http://schemas.openxmlformats.org/officeDocument/2006/relationships/tags" Target="../tags/tag463.xml"/><Relationship Id="rId45" Type="http://schemas.openxmlformats.org/officeDocument/2006/relationships/tags" Target="../tags/tag468.xml"/><Relationship Id="rId53" Type="http://schemas.openxmlformats.org/officeDocument/2006/relationships/tags" Target="../tags/tag476.xml"/><Relationship Id="rId58" Type="http://schemas.openxmlformats.org/officeDocument/2006/relationships/tags" Target="../tags/tag481.xml"/><Relationship Id="rId66" Type="http://schemas.openxmlformats.org/officeDocument/2006/relationships/tags" Target="../tags/tag489.xml"/><Relationship Id="rId74" Type="http://schemas.openxmlformats.org/officeDocument/2006/relationships/oleObject" Target="../embeddings/oleObject23.bin"/><Relationship Id="rId5" Type="http://schemas.openxmlformats.org/officeDocument/2006/relationships/tags" Target="../tags/tag428.xml"/><Relationship Id="rId61" Type="http://schemas.openxmlformats.org/officeDocument/2006/relationships/tags" Target="../tags/tag484.xml"/><Relationship Id="rId19" Type="http://schemas.openxmlformats.org/officeDocument/2006/relationships/tags" Target="../tags/tag442.xml"/><Relationship Id="rId14" Type="http://schemas.openxmlformats.org/officeDocument/2006/relationships/tags" Target="../tags/tag437.xml"/><Relationship Id="rId22" Type="http://schemas.openxmlformats.org/officeDocument/2006/relationships/tags" Target="../tags/tag445.xml"/><Relationship Id="rId27" Type="http://schemas.openxmlformats.org/officeDocument/2006/relationships/tags" Target="../tags/tag450.xml"/><Relationship Id="rId30" Type="http://schemas.openxmlformats.org/officeDocument/2006/relationships/tags" Target="../tags/tag453.xml"/><Relationship Id="rId35" Type="http://schemas.openxmlformats.org/officeDocument/2006/relationships/tags" Target="../tags/tag458.xml"/><Relationship Id="rId43" Type="http://schemas.openxmlformats.org/officeDocument/2006/relationships/tags" Target="../tags/tag466.xml"/><Relationship Id="rId48" Type="http://schemas.openxmlformats.org/officeDocument/2006/relationships/tags" Target="../tags/tag471.xml"/><Relationship Id="rId56" Type="http://schemas.openxmlformats.org/officeDocument/2006/relationships/tags" Target="../tags/tag479.xml"/><Relationship Id="rId64" Type="http://schemas.openxmlformats.org/officeDocument/2006/relationships/tags" Target="../tags/tag487.xml"/><Relationship Id="rId69" Type="http://schemas.openxmlformats.org/officeDocument/2006/relationships/tags" Target="../tags/tag492.xml"/><Relationship Id="rId77" Type="http://schemas.openxmlformats.org/officeDocument/2006/relationships/chart" Target="../charts/chart10.xml"/><Relationship Id="rId8" Type="http://schemas.openxmlformats.org/officeDocument/2006/relationships/tags" Target="../tags/tag431.xml"/><Relationship Id="rId51" Type="http://schemas.openxmlformats.org/officeDocument/2006/relationships/tags" Target="../tags/tag474.xml"/><Relationship Id="rId72" Type="http://schemas.openxmlformats.org/officeDocument/2006/relationships/tags" Target="../tags/tag495.xml"/><Relationship Id="rId3" Type="http://schemas.openxmlformats.org/officeDocument/2006/relationships/tags" Target="../tags/tag426.xml"/><Relationship Id="rId12" Type="http://schemas.openxmlformats.org/officeDocument/2006/relationships/tags" Target="../tags/tag435.xml"/><Relationship Id="rId17" Type="http://schemas.openxmlformats.org/officeDocument/2006/relationships/tags" Target="../tags/tag440.xml"/><Relationship Id="rId25" Type="http://schemas.openxmlformats.org/officeDocument/2006/relationships/tags" Target="../tags/tag448.xml"/><Relationship Id="rId33" Type="http://schemas.openxmlformats.org/officeDocument/2006/relationships/tags" Target="../tags/tag456.xml"/><Relationship Id="rId38" Type="http://schemas.openxmlformats.org/officeDocument/2006/relationships/tags" Target="../tags/tag461.xml"/><Relationship Id="rId46" Type="http://schemas.openxmlformats.org/officeDocument/2006/relationships/tags" Target="../tags/tag469.xml"/><Relationship Id="rId59" Type="http://schemas.openxmlformats.org/officeDocument/2006/relationships/tags" Target="../tags/tag482.xml"/><Relationship Id="rId67" Type="http://schemas.openxmlformats.org/officeDocument/2006/relationships/tags" Target="../tags/tag490.xml"/><Relationship Id="rId20" Type="http://schemas.openxmlformats.org/officeDocument/2006/relationships/tags" Target="../tags/tag443.xml"/><Relationship Id="rId41" Type="http://schemas.openxmlformats.org/officeDocument/2006/relationships/tags" Target="../tags/tag464.xml"/><Relationship Id="rId54" Type="http://schemas.openxmlformats.org/officeDocument/2006/relationships/tags" Target="../tags/tag477.xml"/><Relationship Id="rId62" Type="http://schemas.openxmlformats.org/officeDocument/2006/relationships/tags" Target="../tags/tag485.xml"/><Relationship Id="rId70" Type="http://schemas.openxmlformats.org/officeDocument/2006/relationships/tags" Target="../tags/tag493.xml"/><Relationship Id="rId75" Type="http://schemas.openxmlformats.org/officeDocument/2006/relationships/image" Target="../media/image43.emf"/><Relationship Id="rId1" Type="http://schemas.openxmlformats.org/officeDocument/2006/relationships/tags" Target="../tags/tag424.xml"/><Relationship Id="rId6" Type="http://schemas.openxmlformats.org/officeDocument/2006/relationships/tags" Target="../tags/tag429.xml"/><Relationship Id="rId15" Type="http://schemas.openxmlformats.org/officeDocument/2006/relationships/tags" Target="../tags/tag438.xml"/><Relationship Id="rId23" Type="http://schemas.openxmlformats.org/officeDocument/2006/relationships/tags" Target="../tags/tag446.xml"/><Relationship Id="rId28" Type="http://schemas.openxmlformats.org/officeDocument/2006/relationships/tags" Target="../tags/tag451.xml"/><Relationship Id="rId36" Type="http://schemas.openxmlformats.org/officeDocument/2006/relationships/tags" Target="../tags/tag459.xml"/><Relationship Id="rId49" Type="http://schemas.openxmlformats.org/officeDocument/2006/relationships/tags" Target="../tags/tag472.xml"/><Relationship Id="rId57" Type="http://schemas.openxmlformats.org/officeDocument/2006/relationships/tags" Target="../tags/tag480.xml"/><Relationship Id="rId10" Type="http://schemas.openxmlformats.org/officeDocument/2006/relationships/tags" Target="../tags/tag433.xml"/><Relationship Id="rId31" Type="http://schemas.openxmlformats.org/officeDocument/2006/relationships/tags" Target="../tags/tag454.xml"/><Relationship Id="rId44" Type="http://schemas.openxmlformats.org/officeDocument/2006/relationships/tags" Target="../tags/tag467.xml"/><Relationship Id="rId52" Type="http://schemas.openxmlformats.org/officeDocument/2006/relationships/tags" Target="../tags/tag475.xml"/><Relationship Id="rId60" Type="http://schemas.openxmlformats.org/officeDocument/2006/relationships/tags" Target="../tags/tag483.xml"/><Relationship Id="rId65" Type="http://schemas.openxmlformats.org/officeDocument/2006/relationships/tags" Target="../tags/tag488.xml"/><Relationship Id="rId73" Type="http://schemas.openxmlformats.org/officeDocument/2006/relationships/slideLayout" Target="../slideLayouts/slideLayout27.xml"/><Relationship Id="rId4" Type="http://schemas.openxmlformats.org/officeDocument/2006/relationships/tags" Target="../tags/tag427.xml"/><Relationship Id="rId9" Type="http://schemas.openxmlformats.org/officeDocument/2006/relationships/tags" Target="../tags/tag432.xml"/><Relationship Id="rId13" Type="http://schemas.openxmlformats.org/officeDocument/2006/relationships/tags" Target="../tags/tag436.xml"/><Relationship Id="rId18" Type="http://schemas.openxmlformats.org/officeDocument/2006/relationships/tags" Target="../tags/tag441.xml"/><Relationship Id="rId39" Type="http://schemas.openxmlformats.org/officeDocument/2006/relationships/tags" Target="../tags/tag462.xml"/><Relationship Id="rId34" Type="http://schemas.openxmlformats.org/officeDocument/2006/relationships/tags" Target="../tags/tag457.xml"/><Relationship Id="rId50" Type="http://schemas.openxmlformats.org/officeDocument/2006/relationships/tags" Target="../tags/tag473.xml"/><Relationship Id="rId55" Type="http://schemas.openxmlformats.org/officeDocument/2006/relationships/tags" Target="../tags/tag478.xml"/><Relationship Id="rId76" Type="http://schemas.openxmlformats.org/officeDocument/2006/relationships/chart" Target="../charts/chart9.xml"/><Relationship Id="rId7" Type="http://schemas.openxmlformats.org/officeDocument/2006/relationships/tags" Target="../tags/tag430.xml"/><Relationship Id="rId71" Type="http://schemas.openxmlformats.org/officeDocument/2006/relationships/tags" Target="../tags/tag494.xml"/><Relationship Id="rId2" Type="http://schemas.openxmlformats.org/officeDocument/2006/relationships/tags" Target="../tags/tag425.xml"/><Relationship Id="rId29" Type="http://schemas.openxmlformats.org/officeDocument/2006/relationships/tags" Target="../tags/tag452.xml"/></Relationships>
</file>

<file path=ppt/slides/_rels/slide23.xml.rels><?xml version="1.0" encoding="UTF-8" standalone="yes"?>
<Relationships xmlns="http://schemas.openxmlformats.org/package/2006/relationships"><Relationship Id="rId26" Type="http://schemas.openxmlformats.org/officeDocument/2006/relationships/tags" Target="../tags/tag521.xml"/><Relationship Id="rId21" Type="http://schemas.openxmlformats.org/officeDocument/2006/relationships/tags" Target="../tags/tag516.xml"/><Relationship Id="rId42" Type="http://schemas.openxmlformats.org/officeDocument/2006/relationships/tags" Target="../tags/tag537.xml"/><Relationship Id="rId47" Type="http://schemas.openxmlformats.org/officeDocument/2006/relationships/tags" Target="../tags/tag542.xml"/><Relationship Id="rId63" Type="http://schemas.openxmlformats.org/officeDocument/2006/relationships/tags" Target="../tags/tag558.xml"/><Relationship Id="rId68" Type="http://schemas.openxmlformats.org/officeDocument/2006/relationships/tags" Target="../tags/tag563.xml"/><Relationship Id="rId2" Type="http://schemas.openxmlformats.org/officeDocument/2006/relationships/tags" Target="../tags/tag497.xml"/><Relationship Id="rId16" Type="http://schemas.openxmlformats.org/officeDocument/2006/relationships/tags" Target="../tags/tag511.xml"/><Relationship Id="rId29" Type="http://schemas.openxmlformats.org/officeDocument/2006/relationships/tags" Target="../tags/tag524.xml"/><Relationship Id="rId11" Type="http://schemas.openxmlformats.org/officeDocument/2006/relationships/tags" Target="../tags/tag506.xml"/><Relationship Id="rId24" Type="http://schemas.openxmlformats.org/officeDocument/2006/relationships/tags" Target="../tags/tag519.xml"/><Relationship Id="rId32" Type="http://schemas.openxmlformats.org/officeDocument/2006/relationships/tags" Target="../tags/tag527.xml"/><Relationship Id="rId37" Type="http://schemas.openxmlformats.org/officeDocument/2006/relationships/tags" Target="../tags/tag532.xml"/><Relationship Id="rId40" Type="http://schemas.openxmlformats.org/officeDocument/2006/relationships/tags" Target="../tags/tag535.xml"/><Relationship Id="rId45" Type="http://schemas.openxmlformats.org/officeDocument/2006/relationships/tags" Target="../tags/tag540.xml"/><Relationship Id="rId53" Type="http://schemas.openxmlformats.org/officeDocument/2006/relationships/tags" Target="../tags/tag548.xml"/><Relationship Id="rId58" Type="http://schemas.openxmlformats.org/officeDocument/2006/relationships/tags" Target="../tags/tag553.xml"/><Relationship Id="rId66" Type="http://schemas.openxmlformats.org/officeDocument/2006/relationships/tags" Target="../tags/tag561.xml"/><Relationship Id="rId74" Type="http://schemas.openxmlformats.org/officeDocument/2006/relationships/chart" Target="../charts/chart11.xml"/><Relationship Id="rId5" Type="http://schemas.openxmlformats.org/officeDocument/2006/relationships/tags" Target="../tags/tag500.xml"/><Relationship Id="rId61" Type="http://schemas.openxmlformats.org/officeDocument/2006/relationships/tags" Target="../tags/tag556.xml"/><Relationship Id="rId19" Type="http://schemas.openxmlformats.org/officeDocument/2006/relationships/tags" Target="../tags/tag514.xml"/><Relationship Id="rId14" Type="http://schemas.openxmlformats.org/officeDocument/2006/relationships/tags" Target="../tags/tag509.xml"/><Relationship Id="rId22" Type="http://schemas.openxmlformats.org/officeDocument/2006/relationships/tags" Target="../tags/tag517.xml"/><Relationship Id="rId27" Type="http://schemas.openxmlformats.org/officeDocument/2006/relationships/tags" Target="../tags/tag522.xml"/><Relationship Id="rId30" Type="http://schemas.openxmlformats.org/officeDocument/2006/relationships/tags" Target="../tags/tag525.xml"/><Relationship Id="rId35" Type="http://schemas.openxmlformats.org/officeDocument/2006/relationships/tags" Target="../tags/tag530.xml"/><Relationship Id="rId43" Type="http://schemas.openxmlformats.org/officeDocument/2006/relationships/tags" Target="../tags/tag538.xml"/><Relationship Id="rId48" Type="http://schemas.openxmlformats.org/officeDocument/2006/relationships/tags" Target="../tags/tag543.xml"/><Relationship Id="rId56" Type="http://schemas.openxmlformats.org/officeDocument/2006/relationships/tags" Target="../tags/tag551.xml"/><Relationship Id="rId64" Type="http://schemas.openxmlformats.org/officeDocument/2006/relationships/tags" Target="../tags/tag559.xml"/><Relationship Id="rId69" Type="http://schemas.openxmlformats.org/officeDocument/2006/relationships/tags" Target="../tags/tag564.xml"/><Relationship Id="rId8" Type="http://schemas.openxmlformats.org/officeDocument/2006/relationships/tags" Target="../tags/tag503.xml"/><Relationship Id="rId51" Type="http://schemas.openxmlformats.org/officeDocument/2006/relationships/tags" Target="../tags/tag546.xml"/><Relationship Id="rId72" Type="http://schemas.openxmlformats.org/officeDocument/2006/relationships/oleObject" Target="../embeddings/oleObject24.bin"/><Relationship Id="rId3" Type="http://schemas.openxmlformats.org/officeDocument/2006/relationships/tags" Target="../tags/tag498.xml"/><Relationship Id="rId12" Type="http://schemas.openxmlformats.org/officeDocument/2006/relationships/tags" Target="../tags/tag507.xml"/><Relationship Id="rId17" Type="http://schemas.openxmlformats.org/officeDocument/2006/relationships/tags" Target="../tags/tag512.xml"/><Relationship Id="rId25" Type="http://schemas.openxmlformats.org/officeDocument/2006/relationships/tags" Target="../tags/tag520.xml"/><Relationship Id="rId33" Type="http://schemas.openxmlformats.org/officeDocument/2006/relationships/tags" Target="../tags/tag528.xml"/><Relationship Id="rId38" Type="http://schemas.openxmlformats.org/officeDocument/2006/relationships/tags" Target="../tags/tag533.xml"/><Relationship Id="rId46" Type="http://schemas.openxmlformats.org/officeDocument/2006/relationships/tags" Target="../tags/tag541.xml"/><Relationship Id="rId59" Type="http://schemas.openxmlformats.org/officeDocument/2006/relationships/tags" Target="../tags/tag554.xml"/><Relationship Id="rId67" Type="http://schemas.openxmlformats.org/officeDocument/2006/relationships/tags" Target="../tags/tag562.xml"/><Relationship Id="rId20" Type="http://schemas.openxmlformats.org/officeDocument/2006/relationships/tags" Target="../tags/tag515.xml"/><Relationship Id="rId41" Type="http://schemas.openxmlformats.org/officeDocument/2006/relationships/tags" Target="../tags/tag536.xml"/><Relationship Id="rId54" Type="http://schemas.openxmlformats.org/officeDocument/2006/relationships/tags" Target="../tags/tag549.xml"/><Relationship Id="rId62" Type="http://schemas.openxmlformats.org/officeDocument/2006/relationships/tags" Target="../tags/tag557.xml"/><Relationship Id="rId70" Type="http://schemas.openxmlformats.org/officeDocument/2006/relationships/tags" Target="../tags/tag565.xml"/><Relationship Id="rId75" Type="http://schemas.openxmlformats.org/officeDocument/2006/relationships/chart" Target="../charts/chart12.xml"/><Relationship Id="rId1" Type="http://schemas.openxmlformats.org/officeDocument/2006/relationships/tags" Target="../tags/tag496.xml"/><Relationship Id="rId6" Type="http://schemas.openxmlformats.org/officeDocument/2006/relationships/tags" Target="../tags/tag501.xml"/><Relationship Id="rId15" Type="http://schemas.openxmlformats.org/officeDocument/2006/relationships/tags" Target="../tags/tag510.xml"/><Relationship Id="rId23" Type="http://schemas.openxmlformats.org/officeDocument/2006/relationships/tags" Target="../tags/tag518.xml"/><Relationship Id="rId28" Type="http://schemas.openxmlformats.org/officeDocument/2006/relationships/tags" Target="../tags/tag523.xml"/><Relationship Id="rId36" Type="http://schemas.openxmlformats.org/officeDocument/2006/relationships/tags" Target="../tags/tag531.xml"/><Relationship Id="rId49" Type="http://schemas.openxmlformats.org/officeDocument/2006/relationships/tags" Target="../tags/tag544.xml"/><Relationship Id="rId57" Type="http://schemas.openxmlformats.org/officeDocument/2006/relationships/tags" Target="../tags/tag552.xml"/><Relationship Id="rId10" Type="http://schemas.openxmlformats.org/officeDocument/2006/relationships/tags" Target="../tags/tag505.xml"/><Relationship Id="rId31" Type="http://schemas.openxmlformats.org/officeDocument/2006/relationships/tags" Target="../tags/tag526.xml"/><Relationship Id="rId44" Type="http://schemas.openxmlformats.org/officeDocument/2006/relationships/tags" Target="../tags/tag539.xml"/><Relationship Id="rId52" Type="http://schemas.openxmlformats.org/officeDocument/2006/relationships/tags" Target="../tags/tag547.xml"/><Relationship Id="rId60" Type="http://schemas.openxmlformats.org/officeDocument/2006/relationships/tags" Target="../tags/tag555.xml"/><Relationship Id="rId65" Type="http://schemas.openxmlformats.org/officeDocument/2006/relationships/tags" Target="../tags/tag560.xml"/><Relationship Id="rId73" Type="http://schemas.openxmlformats.org/officeDocument/2006/relationships/image" Target="../media/image43.emf"/><Relationship Id="rId4" Type="http://schemas.openxmlformats.org/officeDocument/2006/relationships/tags" Target="../tags/tag499.xml"/><Relationship Id="rId9" Type="http://schemas.openxmlformats.org/officeDocument/2006/relationships/tags" Target="../tags/tag504.xml"/><Relationship Id="rId13" Type="http://schemas.openxmlformats.org/officeDocument/2006/relationships/tags" Target="../tags/tag508.xml"/><Relationship Id="rId18" Type="http://schemas.openxmlformats.org/officeDocument/2006/relationships/tags" Target="../tags/tag513.xml"/><Relationship Id="rId39" Type="http://schemas.openxmlformats.org/officeDocument/2006/relationships/tags" Target="../tags/tag534.xml"/><Relationship Id="rId34" Type="http://schemas.openxmlformats.org/officeDocument/2006/relationships/tags" Target="../tags/tag529.xml"/><Relationship Id="rId50" Type="http://schemas.openxmlformats.org/officeDocument/2006/relationships/tags" Target="../tags/tag545.xml"/><Relationship Id="rId55" Type="http://schemas.openxmlformats.org/officeDocument/2006/relationships/tags" Target="../tags/tag550.xml"/><Relationship Id="rId7" Type="http://schemas.openxmlformats.org/officeDocument/2006/relationships/tags" Target="../tags/tag502.xml"/><Relationship Id="rId71" Type="http://schemas.openxmlformats.org/officeDocument/2006/relationships/slideLayout" Target="../slideLayouts/slideLayout27.xml"/></Relationships>
</file>

<file path=ppt/slides/_rels/slide24.xml.rels><?xml version="1.0" encoding="UTF-8" standalone="yes"?>
<Relationships xmlns="http://schemas.openxmlformats.org/package/2006/relationships"><Relationship Id="rId26" Type="http://schemas.openxmlformats.org/officeDocument/2006/relationships/tags" Target="../tags/tag591.xml"/><Relationship Id="rId21" Type="http://schemas.openxmlformats.org/officeDocument/2006/relationships/tags" Target="../tags/tag586.xml"/><Relationship Id="rId42" Type="http://schemas.openxmlformats.org/officeDocument/2006/relationships/tags" Target="../tags/tag607.xml"/><Relationship Id="rId47" Type="http://schemas.openxmlformats.org/officeDocument/2006/relationships/tags" Target="../tags/tag612.xml"/><Relationship Id="rId63" Type="http://schemas.openxmlformats.org/officeDocument/2006/relationships/tags" Target="../tags/tag628.xml"/><Relationship Id="rId68" Type="http://schemas.openxmlformats.org/officeDocument/2006/relationships/tags" Target="../tags/tag633.xml"/><Relationship Id="rId16" Type="http://schemas.openxmlformats.org/officeDocument/2006/relationships/tags" Target="../tags/tag581.xml"/><Relationship Id="rId11" Type="http://schemas.openxmlformats.org/officeDocument/2006/relationships/tags" Target="../tags/tag576.xml"/><Relationship Id="rId24" Type="http://schemas.openxmlformats.org/officeDocument/2006/relationships/tags" Target="../tags/tag589.xml"/><Relationship Id="rId32" Type="http://schemas.openxmlformats.org/officeDocument/2006/relationships/tags" Target="../tags/tag597.xml"/><Relationship Id="rId37" Type="http://schemas.openxmlformats.org/officeDocument/2006/relationships/tags" Target="../tags/tag602.xml"/><Relationship Id="rId40" Type="http://schemas.openxmlformats.org/officeDocument/2006/relationships/tags" Target="../tags/tag605.xml"/><Relationship Id="rId45" Type="http://schemas.openxmlformats.org/officeDocument/2006/relationships/tags" Target="../tags/tag610.xml"/><Relationship Id="rId53" Type="http://schemas.openxmlformats.org/officeDocument/2006/relationships/tags" Target="../tags/tag618.xml"/><Relationship Id="rId58" Type="http://schemas.openxmlformats.org/officeDocument/2006/relationships/tags" Target="../tags/tag623.xml"/><Relationship Id="rId66" Type="http://schemas.openxmlformats.org/officeDocument/2006/relationships/tags" Target="../tags/tag631.xml"/><Relationship Id="rId74" Type="http://schemas.openxmlformats.org/officeDocument/2006/relationships/oleObject" Target="../embeddings/oleObject25.bin"/><Relationship Id="rId5" Type="http://schemas.openxmlformats.org/officeDocument/2006/relationships/tags" Target="../tags/tag570.xml"/><Relationship Id="rId61" Type="http://schemas.openxmlformats.org/officeDocument/2006/relationships/tags" Target="../tags/tag626.xml"/><Relationship Id="rId19" Type="http://schemas.openxmlformats.org/officeDocument/2006/relationships/tags" Target="../tags/tag584.xml"/><Relationship Id="rId14" Type="http://schemas.openxmlformats.org/officeDocument/2006/relationships/tags" Target="../tags/tag579.xml"/><Relationship Id="rId22" Type="http://schemas.openxmlformats.org/officeDocument/2006/relationships/tags" Target="../tags/tag587.xml"/><Relationship Id="rId27" Type="http://schemas.openxmlformats.org/officeDocument/2006/relationships/tags" Target="../tags/tag592.xml"/><Relationship Id="rId30" Type="http://schemas.openxmlformats.org/officeDocument/2006/relationships/tags" Target="../tags/tag595.xml"/><Relationship Id="rId35" Type="http://schemas.openxmlformats.org/officeDocument/2006/relationships/tags" Target="../tags/tag600.xml"/><Relationship Id="rId43" Type="http://schemas.openxmlformats.org/officeDocument/2006/relationships/tags" Target="../tags/tag608.xml"/><Relationship Id="rId48" Type="http://schemas.openxmlformats.org/officeDocument/2006/relationships/tags" Target="../tags/tag613.xml"/><Relationship Id="rId56" Type="http://schemas.openxmlformats.org/officeDocument/2006/relationships/tags" Target="../tags/tag621.xml"/><Relationship Id="rId64" Type="http://schemas.openxmlformats.org/officeDocument/2006/relationships/tags" Target="../tags/tag629.xml"/><Relationship Id="rId69" Type="http://schemas.openxmlformats.org/officeDocument/2006/relationships/tags" Target="../tags/tag634.xml"/><Relationship Id="rId77" Type="http://schemas.openxmlformats.org/officeDocument/2006/relationships/chart" Target="../charts/chart14.xml"/><Relationship Id="rId8" Type="http://schemas.openxmlformats.org/officeDocument/2006/relationships/tags" Target="../tags/tag573.xml"/><Relationship Id="rId51" Type="http://schemas.openxmlformats.org/officeDocument/2006/relationships/tags" Target="../tags/tag616.xml"/><Relationship Id="rId72" Type="http://schemas.openxmlformats.org/officeDocument/2006/relationships/tags" Target="../tags/tag637.xml"/><Relationship Id="rId3" Type="http://schemas.openxmlformats.org/officeDocument/2006/relationships/tags" Target="../tags/tag568.xml"/><Relationship Id="rId12" Type="http://schemas.openxmlformats.org/officeDocument/2006/relationships/tags" Target="../tags/tag577.xml"/><Relationship Id="rId17" Type="http://schemas.openxmlformats.org/officeDocument/2006/relationships/tags" Target="../tags/tag582.xml"/><Relationship Id="rId25" Type="http://schemas.openxmlformats.org/officeDocument/2006/relationships/tags" Target="../tags/tag590.xml"/><Relationship Id="rId33" Type="http://schemas.openxmlformats.org/officeDocument/2006/relationships/tags" Target="../tags/tag598.xml"/><Relationship Id="rId38" Type="http://schemas.openxmlformats.org/officeDocument/2006/relationships/tags" Target="../tags/tag603.xml"/><Relationship Id="rId46" Type="http://schemas.openxmlformats.org/officeDocument/2006/relationships/tags" Target="../tags/tag611.xml"/><Relationship Id="rId59" Type="http://schemas.openxmlformats.org/officeDocument/2006/relationships/tags" Target="../tags/tag624.xml"/><Relationship Id="rId67" Type="http://schemas.openxmlformats.org/officeDocument/2006/relationships/tags" Target="../tags/tag632.xml"/><Relationship Id="rId20" Type="http://schemas.openxmlformats.org/officeDocument/2006/relationships/tags" Target="../tags/tag585.xml"/><Relationship Id="rId41" Type="http://schemas.openxmlformats.org/officeDocument/2006/relationships/tags" Target="../tags/tag606.xml"/><Relationship Id="rId54" Type="http://schemas.openxmlformats.org/officeDocument/2006/relationships/tags" Target="../tags/tag619.xml"/><Relationship Id="rId62" Type="http://schemas.openxmlformats.org/officeDocument/2006/relationships/tags" Target="../tags/tag627.xml"/><Relationship Id="rId70" Type="http://schemas.openxmlformats.org/officeDocument/2006/relationships/tags" Target="../tags/tag635.xml"/><Relationship Id="rId75" Type="http://schemas.openxmlformats.org/officeDocument/2006/relationships/image" Target="../media/image43.emf"/><Relationship Id="rId1" Type="http://schemas.openxmlformats.org/officeDocument/2006/relationships/tags" Target="../tags/tag566.xml"/><Relationship Id="rId6" Type="http://schemas.openxmlformats.org/officeDocument/2006/relationships/tags" Target="../tags/tag571.xml"/><Relationship Id="rId15" Type="http://schemas.openxmlformats.org/officeDocument/2006/relationships/tags" Target="../tags/tag580.xml"/><Relationship Id="rId23" Type="http://schemas.openxmlformats.org/officeDocument/2006/relationships/tags" Target="../tags/tag588.xml"/><Relationship Id="rId28" Type="http://schemas.openxmlformats.org/officeDocument/2006/relationships/tags" Target="../tags/tag593.xml"/><Relationship Id="rId36" Type="http://schemas.openxmlformats.org/officeDocument/2006/relationships/tags" Target="../tags/tag601.xml"/><Relationship Id="rId49" Type="http://schemas.openxmlformats.org/officeDocument/2006/relationships/tags" Target="../tags/tag614.xml"/><Relationship Id="rId57" Type="http://schemas.openxmlformats.org/officeDocument/2006/relationships/tags" Target="../tags/tag622.xml"/><Relationship Id="rId10" Type="http://schemas.openxmlformats.org/officeDocument/2006/relationships/tags" Target="../tags/tag575.xml"/><Relationship Id="rId31" Type="http://schemas.openxmlformats.org/officeDocument/2006/relationships/tags" Target="../tags/tag596.xml"/><Relationship Id="rId44" Type="http://schemas.openxmlformats.org/officeDocument/2006/relationships/tags" Target="../tags/tag609.xml"/><Relationship Id="rId52" Type="http://schemas.openxmlformats.org/officeDocument/2006/relationships/tags" Target="../tags/tag617.xml"/><Relationship Id="rId60" Type="http://schemas.openxmlformats.org/officeDocument/2006/relationships/tags" Target="../tags/tag625.xml"/><Relationship Id="rId65" Type="http://schemas.openxmlformats.org/officeDocument/2006/relationships/tags" Target="../tags/tag630.xml"/><Relationship Id="rId73" Type="http://schemas.openxmlformats.org/officeDocument/2006/relationships/slideLayout" Target="../slideLayouts/slideLayout27.xml"/><Relationship Id="rId4" Type="http://schemas.openxmlformats.org/officeDocument/2006/relationships/tags" Target="../tags/tag569.xml"/><Relationship Id="rId9" Type="http://schemas.openxmlformats.org/officeDocument/2006/relationships/tags" Target="../tags/tag574.xml"/><Relationship Id="rId13" Type="http://schemas.openxmlformats.org/officeDocument/2006/relationships/tags" Target="../tags/tag578.xml"/><Relationship Id="rId18" Type="http://schemas.openxmlformats.org/officeDocument/2006/relationships/tags" Target="../tags/tag583.xml"/><Relationship Id="rId39" Type="http://schemas.openxmlformats.org/officeDocument/2006/relationships/tags" Target="../tags/tag604.xml"/><Relationship Id="rId34" Type="http://schemas.openxmlformats.org/officeDocument/2006/relationships/tags" Target="../tags/tag599.xml"/><Relationship Id="rId50" Type="http://schemas.openxmlformats.org/officeDocument/2006/relationships/tags" Target="../tags/tag615.xml"/><Relationship Id="rId55" Type="http://schemas.openxmlformats.org/officeDocument/2006/relationships/tags" Target="../tags/tag620.xml"/><Relationship Id="rId76" Type="http://schemas.openxmlformats.org/officeDocument/2006/relationships/chart" Target="../charts/chart13.xml"/><Relationship Id="rId7" Type="http://schemas.openxmlformats.org/officeDocument/2006/relationships/tags" Target="../tags/tag572.xml"/><Relationship Id="rId71" Type="http://schemas.openxmlformats.org/officeDocument/2006/relationships/tags" Target="../tags/tag636.xml"/><Relationship Id="rId2" Type="http://schemas.openxmlformats.org/officeDocument/2006/relationships/tags" Target="../tags/tag567.xml"/><Relationship Id="rId29" Type="http://schemas.openxmlformats.org/officeDocument/2006/relationships/tags" Target="../tags/tag594.xml"/></Relationships>
</file>

<file path=ppt/slides/_rels/slide25.xml.rels><?xml version="1.0" encoding="UTF-8" standalone="yes"?>
<Relationships xmlns="http://schemas.openxmlformats.org/package/2006/relationships"><Relationship Id="rId26" Type="http://schemas.openxmlformats.org/officeDocument/2006/relationships/tags" Target="../tags/tag663.xml"/><Relationship Id="rId21" Type="http://schemas.openxmlformats.org/officeDocument/2006/relationships/tags" Target="../tags/tag658.xml"/><Relationship Id="rId42" Type="http://schemas.openxmlformats.org/officeDocument/2006/relationships/tags" Target="../tags/tag679.xml"/><Relationship Id="rId47" Type="http://schemas.openxmlformats.org/officeDocument/2006/relationships/tags" Target="../tags/tag684.xml"/><Relationship Id="rId63" Type="http://schemas.openxmlformats.org/officeDocument/2006/relationships/tags" Target="../tags/tag700.xml"/><Relationship Id="rId68" Type="http://schemas.openxmlformats.org/officeDocument/2006/relationships/tags" Target="../tags/tag705.xml"/><Relationship Id="rId16" Type="http://schemas.openxmlformats.org/officeDocument/2006/relationships/tags" Target="../tags/tag653.xml"/><Relationship Id="rId11" Type="http://schemas.openxmlformats.org/officeDocument/2006/relationships/tags" Target="../tags/tag648.xml"/><Relationship Id="rId24" Type="http://schemas.openxmlformats.org/officeDocument/2006/relationships/tags" Target="../tags/tag661.xml"/><Relationship Id="rId32" Type="http://schemas.openxmlformats.org/officeDocument/2006/relationships/tags" Target="../tags/tag669.xml"/><Relationship Id="rId37" Type="http://schemas.openxmlformats.org/officeDocument/2006/relationships/tags" Target="../tags/tag674.xml"/><Relationship Id="rId40" Type="http://schemas.openxmlformats.org/officeDocument/2006/relationships/tags" Target="../tags/tag677.xml"/><Relationship Id="rId45" Type="http://schemas.openxmlformats.org/officeDocument/2006/relationships/tags" Target="../tags/tag682.xml"/><Relationship Id="rId53" Type="http://schemas.openxmlformats.org/officeDocument/2006/relationships/tags" Target="../tags/tag690.xml"/><Relationship Id="rId58" Type="http://schemas.openxmlformats.org/officeDocument/2006/relationships/tags" Target="../tags/tag695.xml"/><Relationship Id="rId66" Type="http://schemas.openxmlformats.org/officeDocument/2006/relationships/tags" Target="../tags/tag703.xml"/><Relationship Id="rId74" Type="http://schemas.openxmlformats.org/officeDocument/2006/relationships/oleObject" Target="../embeddings/oleObject26.bin"/><Relationship Id="rId5" Type="http://schemas.openxmlformats.org/officeDocument/2006/relationships/tags" Target="../tags/tag642.xml"/><Relationship Id="rId61" Type="http://schemas.openxmlformats.org/officeDocument/2006/relationships/tags" Target="../tags/tag698.xml"/><Relationship Id="rId19" Type="http://schemas.openxmlformats.org/officeDocument/2006/relationships/tags" Target="../tags/tag656.xml"/><Relationship Id="rId14" Type="http://schemas.openxmlformats.org/officeDocument/2006/relationships/tags" Target="../tags/tag651.xml"/><Relationship Id="rId22" Type="http://schemas.openxmlformats.org/officeDocument/2006/relationships/tags" Target="../tags/tag659.xml"/><Relationship Id="rId27" Type="http://schemas.openxmlformats.org/officeDocument/2006/relationships/tags" Target="../tags/tag664.xml"/><Relationship Id="rId30" Type="http://schemas.openxmlformats.org/officeDocument/2006/relationships/tags" Target="../tags/tag667.xml"/><Relationship Id="rId35" Type="http://schemas.openxmlformats.org/officeDocument/2006/relationships/tags" Target="../tags/tag672.xml"/><Relationship Id="rId43" Type="http://schemas.openxmlformats.org/officeDocument/2006/relationships/tags" Target="../tags/tag680.xml"/><Relationship Id="rId48" Type="http://schemas.openxmlformats.org/officeDocument/2006/relationships/tags" Target="../tags/tag685.xml"/><Relationship Id="rId56" Type="http://schemas.openxmlformats.org/officeDocument/2006/relationships/tags" Target="../tags/tag693.xml"/><Relationship Id="rId64" Type="http://schemas.openxmlformats.org/officeDocument/2006/relationships/tags" Target="../tags/tag701.xml"/><Relationship Id="rId69" Type="http://schemas.openxmlformats.org/officeDocument/2006/relationships/tags" Target="../tags/tag706.xml"/><Relationship Id="rId77" Type="http://schemas.openxmlformats.org/officeDocument/2006/relationships/chart" Target="../charts/chart16.xml"/><Relationship Id="rId8" Type="http://schemas.openxmlformats.org/officeDocument/2006/relationships/tags" Target="../tags/tag645.xml"/><Relationship Id="rId51" Type="http://schemas.openxmlformats.org/officeDocument/2006/relationships/tags" Target="../tags/tag688.xml"/><Relationship Id="rId72" Type="http://schemas.openxmlformats.org/officeDocument/2006/relationships/tags" Target="../tags/tag709.xml"/><Relationship Id="rId3" Type="http://schemas.openxmlformats.org/officeDocument/2006/relationships/tags" Target="../tags/tag640.xml"/><Relationship Id="rId12" Type="http://schemas.openxmlformats.org/officeDocument/2006/relationships/tags" Target="../tags/tag649.xml"/><Relationship Id="rId17" Type="http://schemas.openxmlformats.org/officeDocument/2006/relationships/tags" Target="../tags/tag654.xml"/><Relationship Id="rId25" Type="http://schemas.openxmlformats.org/officeDocument/2006/relationships/tags" Target="../tags/tag662.xml"/><Relationship Id="rId33" Type="http://schemas.openxmlformats.org/officeDocument/2006/relationships/tags" Target="../tags/tag670.xml"/><Relationship Id="rId38" Type="http://schemas.openxmlformats.org/officeDocument/2006/relationships/tags" Target="../tags/tag675.xml"/><Relationship Id="rId46" Type="http://schemas.openxmlformats.org/officeDocument/2006/relationships/tags" Target="../tags/tag683.xml"/><Relationship Id="rId59" Type="http://schemas.openxmlformats.org/officeDocument/2006/relationships/tags" Target="../tags/tag696.xml"/><Relationship Id="rId67" Type="http://schemas.openxmlformats.org/officeDocument/2006/relationships/tags" Target="../tags/tag704.xml"/><Relationship Id="rId20" Type="http://schemas.openxmlformats.org/officeDocument/2006/relationships/tags" Target="../tags/tag657.xml"/><Relationship Id="rId41" Type="http://schemas.openxmlformats.org/officeDocument/2006/relationships/tags" Target="../tags/tag678.xml"/><Relationship Id="rId54" Type="http://schemas.openxmlformats.org/officeDocument/2006/relationships/tags" Target="../tags/tag691.xml"/><Relationship Id="rId62" Type="http://schemas.openxmlformats.org/officeDocument/2006/relationships/tags" Target="../tags/tag699.xml"/><Relationship Id="rId70" Type="http://schemas.openxmlformats.org/officeDocument/2006/relationships/tags" Target="../tags/tag707.xml"/><Relationship Id="rId75" Type="http://schemas.openxmlformats.org/officeDocument/2006/relationships/image" Target="../media/image43.emf"/><Relationship Id="rId1" Type="http://schemas.openxmlformats.org/officeDocument/2006/relationships/tags" Target="../tags/tag638.xml"/><Relationship Id="rId6" Type="http://schemas.openxmlformats.org/officeDocument/2006/relationships/tags" Target="../tags/tag643.xml"/><Relationship Id="rId15" Type="http://schemas.openxmlformats.org/officeDocument/2006/relationships/tags" Target="../tags/tag652.xml"/><Relationship Id="rId23" Type="http://schemas.openxmlformats.org/officeDocument/2006/relationships/tags" Target="../tags/tag660.xml"/><Relationship Id="rId28" Type="http://schemas.openxmlformats.org/officeDocument/2006/relationships/tags" Target="../tags/tag665.xml"/><Relationship Id="rId36" Type="http://schemas.openxmlformats.org/officeDocument/2006/relationships/tags" Target="../tags/tag673.xml"/><Relationship Id="rId49" Type="http://schemas.openxmlformats.org/officeDocument/2006/relationships/tags" Target="../tags/tag686.xml"/><Relationship Id="rId57" Type="http://schemas.openxmlformats.org/officeDocument/2006/relationships/tags" Target="../tags/tag694.xml"/><Relationship Id="rId10" Type="http://schemas.openxmlformats.org/officeDocument/2006/relationships/tags" Target="../tags/tag647.xml"/><Relationship Id="rId31" Type="http://schemas.openxmlformats.org/officeDocument/2006/relationships/tags" Target="../tags/tag668.xml"/><Relationship Id="rId44" Type="http://schemas.openxmlformats.org/officeDocument/2006/relationships/tags" Target="../tags/tag681.xml"/><Relationship Id="rId52" Type="http://schemas.openxmlformats.org/officeDocument/2006/relationships/tags" Target="../tags/tag689.xml"/><Relationship Id="rId60" Type="http://schemas.openxmlformats.org/officeDocument/2006/relationships/tags" Target="../tags/tag697.xml"/><Relationship Id="rId65" Type="http://schemas.openxmlformats.org/officeDocument/2006/relationships/tags" Target="../tags/tag702.xml"/><Relationship Id="rId73" Type="http://schemas.openxmlformats.org/officeDocument/2006/relationships/slideLayout" Target="../slideLayouts/slideLayout27.xml"/><Relationship Id="rId4" Type="http://schemas.openxmlformats.org/officeDocument/2006/relationships/tags" Target="../tags/tag641.xml"/><Relationship Id="rId9" Type="http://schemas.openxmlformats.org/officeDocument/2006/relationships/tags" Target="../tags/tag646.xml"/><Relationship Id="rId13" Type="http://schemas.openxmlformats.org/officeDocument/2006/relationships/tags" Target="../tags/tag650.xml"/><Relationship Id="rId18" Type="http://schemas.openxmlformats.org/officeDocument/2006/relationships/tags" Target="../tags/tag655.xml"/><Relationship Id="rId39" Type="http://schemas.openxmlformats.org/officeDocument/2006/relationships/tags" Target="../tags/tag676.xml"/><Relationship Id="rId34" Type="http://schemas.openxmlformats.org/officeDocument/2006/relationships/tags" Target="../tags/tag671.xml"/><Relationship Id="rId50" Type="http://schemas.openxmlformats.org/officeDocument/2006/relationships/tags" Target="../tags/tag687.xml"/><Relationship Id="rId55" Type="http://schemas.openxmlformats.org/officeDocument/2006/relationships/tags" Target="../tags/tag692.xml"/><Relationship Id="rId76" Type="http://schemas.openxmlformats.org/officeDocument/2006/relationships/chart" Target="../charts/chart15.xml"/><Relationship Id="rId7" Type="http://schemas.openxmlformats.org/officeDocument/2006/relationships/tags" Target="../tags/tag644.xml"/><Relationship Id="rId71" Type="http://schemas.openxmlformats.org/officeDocument/2006/relationships/tags" Target="../tags/tag708.xml"/><Relationship Id="rId2" Type="http://schemas.openxmlformats.org/officeDocument/2006/relationships/tags" Target="../tags/tag639.xml"/><Relationship Id="rId29" Type="http://schemas.openxmlformats.org/officeDocument/2006/relationships/tags" Target="../tags/tag666.xml"/></Relationships>
</file>

<file path=ppt/slides/_rels/slide26.xml.rels><?xml version="1.0" encoding="UTF-8" standalone="yes"?>
<Relationships xmlns="http://schemas.openxmlformats.org/package/2006/relationships"><Relationship Id="rId26" Type="http://schemas.openxmlformats.org/officeDocument/2006/relationships/tags" Target="../tags/tag735.xml"/><Relationship Id="rId21" Type="http://schemas.openxmlformats.org/officeDocument/2006/relationships/tags" Target="../tags/tag730.xml"/><Relationship Id="rId42" Type="http://schemas.openxmlformats.org/officeDocument/2006/relationships/tags" Target="../tags/tag751.xml"/><Relationship Id="rId47" Type="http://schemas.openxmlformats.org/officeDocument/2006/relationships/tags" Target="../tags/tag756.xml"/><Relationship Id="rId63" Type="http://schemas.openxmlformats.org/officeDocument/2006/relationships/tags" Target="../tags/tag772.xml"/><Relationship Id="rId68" Type="http://schemas.openxmlformats.org/officeDocument/2006/relationships/tags" Target="../tags/tag777.xml"/><Relationship Id="rId16" Type="http://schemas.openxmlformats.org/officeDocument/2006/relationships/tags" Target="../tags/tag725.xml"/><Relationship Id="rId11" Type="http://schemas.openxmlformats.org/officeDocument/2006/relationships/tags" Target="../tags/tag720.xml"/><Relationship Id="rId24" Type="http://schemas.openxmlformats.org/officeDocument/2006/relationships/tags" Target="../tags/tag733.xml"/><Relationship Id="rId32" Type="http://schemas.openxmlformats.org/officeDocument/2006/relationships/tags" Target="../tags/tag741.xml"/><Relationship Id="rId37" Type="http://schemas.openxmlformats.org/officeDocument/2006/relationships/tags" Target="../tags/tag746.xml"/><Relationship Id="rId40" Type="http://schemas.openxmlformats.org/officeDocument/2006/relationships/tags" Target="../tags/tag749.xml"/><Relationship Id="rId45" Type="http://schemas.openxmlformats.org/officeDocument/2006/relationships/tags" Target="../tags/tag754.xml"/><Relationship Id="rId53" Type="http://schemas.openxmlformats.org/officeDocument/2006/relationships/tags" Target="../tags/tag762.xml"/><Relationship Id="rId58" Type="http://schemas.openxmlformats.org/officeDocument/2006/relationships/tags" Target="../tags/tag767.xml"/><Relationship Id="rId66" Type="http://schemas.openxmlformats.org/officeDocument/2006/relationships/tags" Target="../tags/tag775.xml"/><Relationship Id="rId74" Type="http://schemas.openxmlformats.org/officeDocument/2006/relationships/tags" Target="../tags/tag783.xml"/><Relationship Id="rId79" Type="http://schemas.openxmlformats.org/officeDocument/2006/relationships/chart" Target="../charts/chart18.xml"/><Relationship Id="rId5" Type="http://schemas.openxmlformats.org/officeDocument/2006/relationships/tags" Target="../tags/tag714.xml"/><Relationship Id="rId61" Type="http://schemas.openxmlformats.org/officeDocument/2006/relationships/tags" Target="../tags/tag770.xml"/><Relationship Id="rId19" Type="http://schemas.openxmlformats.org/officeDocument/2006/relationships/tags" Target="../tags/tag728.xml"/><Relationship Id="rId14" Type="http://schemas.openxmlformats.org/officeDocument/2006/relationships/tags" Target="../tags/tag723.xml"/><Relationship Id="rId22" Type="http://schemas.openxmlformats.org/officeDocument/2006/relationships/tags" Target="../tags/tag731.xml"/><Relationship Id="rId27" Type="http://schemas.openxmlformats.org/officeDocument/2006/relationships/tags" Target="../tags/tag736.xml"/><Relationship Id="rId30" Type="http://schemas.openxmlformats.org/officeDocument/2006/relationships/tags" Target="../tags/tag739.xml"/><Relationship Id="rId35" Type="http://schemas.openxmlformats.org/officeDocument/2006/relationships/tags" Target="../tags/tag744.xml"/><Relationship Id="rId43" Type="http://schemas.openxmlformats.org/officeDocument/2006/relationships/tags" Target="../tags/tag752.xml"/><Relationship Id="rId48" Type="http://schemas.openxmlformats.org/officeDocument/2006/relationships/tags" Target="../tags/tag757.xml"/><Relationship Id="rId56" Type="http://schemas.openxmlformats.org/officeDocument/2006/relationships/tags" Target="../tags/tag765.xml"/><Relationship Id="rId64" Type="http://schemas.openxmlformats.org/officeDocument/2006/relationships/tags" Target="../tags/tag773.xml"/><Relationship Id="rId69" Type="http://schemas.openxmlformats.org/officeDocument/2006/relationships/tags" Target="../tags/tag778.xml"/><Relationship Id="rId77" Type="http://schemas.openxmlformats.org/officeDocument/2006/relationships/image" Target="../media/image43.emf"/><Relationship Id="rId8" Type="http://schemas.openxmlformats.org/officeDocument/2006/relationships/tags" Target="../tags/tag717.xml"/><Relationship Id="rId51" Type="http://schemas.openxmlformats.org/officeDocument/2006/relationships/tags" Target="../tags/tag760.xml"/><Relationship Id="rId72" Type="http://schemas.openxmlformats.org/officeDocument/2006/relationships/tags" Target="../tags/tag781.xml"/><Relationship Id="rId3" Type="http://schemas.openxmlformats.org/officeDocument/2006/relationships/tags" Target="../tags/tag712.xml"/><Relationship Id="rId12" Type="http://schemas.openxmlformats.org/officeDocument/2006/relationships/tags" Target="../tags/tag721.xml"/><Relationship Id="rId17" Type="http://schemas.openxmlformats.org/officeDocument/2006/relationships/tags" Target="../tags/tag726.xml"/><Relationship Id="rId25" Type="http://schemas.openxmlformats.org/officeDocument/2006/relationships/tags" Target="../tags/tag734.xml"/><Relationship Id="rId33" Type="http://schemas.openxmlformats.org/officeDocument/2006/relationships/tags" Target="../tags/tag742.xml"/><Relationship Id="rId38" Type="http://schemas.openxmlformats.org/officeDocument/2006/relationships/tags" Target="../tags/tag747.xml"/><Relationship Id="rId46" Type="http://schemas.openxmlformats.org/officeDocument/2006/relationships/tags" Target="../tags/tag755.xml"/><Relationship Id="rId59" Type="http://schemas.openxmlformats.org/officeDocument/2006/relationships/tags" Target="../tags/tag768.xml"/><Relationship Id="rId67" Type="http://schemas.openxmlformats.org/officeDocument/2006/relationships/tags" Target="../tags/tag776.xml"/><Relationship Id="rId20" Type="http://schemas.openxmlformats.org/officeDocument/2006/relationships/tags" Target="../tags/tag729.xml"/><Relationship Id="rId41" Type="http://schemas.openxmlformats.org/officeDocument/2006/relationships/tags" Target="../tags/tag750.xml"/><Relationship Id="rId54" Type="http://schemas.openxmlformats.org/officeDocument/2006/relationships/tags" Target="../tags/tag763.xml"/><Relationship Id="rId62" Type="http://schemas.openxmlformats.org/officeDocument/2006/relationships/tags" Target="../tags/tag771.xml"/><Relationship Id="rId70" Type="http://schemas.openxmlformats.org/officeDocument/2006/relationships/tags" Target="../tags/tag779.xml"/><Relationship Id="rId75" Type="http://schemas.openxmlformats.org/officeDocument/2006/relationships/slideLayout" Target="../slideLayouts/slideLayout27.xml"/><Relationship Id="rId1" Type="http://schemas.openxmlformats.org/officeDocument/2006/relationships/tags" Target="../tags/tag710.xml"/><Relationship Id="rId6" Type="http://schemas.openxmlformats.org/officeDocument/2006/relationships/tags" Target="../tags/tag715.xml"/><Relationship Id="rId15" Type="http://schemas.openxmlformats.org/officeDocument/2006/relationships/tags" Target="../tags/tag724.xml"/><Relationship Id="rId23" Type="http://schemas.openxmlformats.org/officeDocument/2006/relationships/tags" Target="../tags/tag732.xml"/><Relationship Id="rId28" Type="http://schemas.openxmlformats.org/officeDocument/2006/relationships/tags" Target="../tags/tag737.xml"/><Relationship Id="rId36" Type="http://schemas.openxmlformats.org/officeDocument/2006/relationships/tags" Target="../tags/tag745.xml"/><Relationship Id="rId49" Type="http://schemas.openxmlformats.org/officeDocument/2006/relationships/tags" Target="../tags/tag758.xml"/><Relationship Id="rId57" Type="http://schemas.openxmlformats.org/officeDocument/2006/relationships/tags" Target="../tags/tag766.xml"/><Relationship Id="rId10" Type="http://schemas.openxmlformats.org/officeDocument/2006/relationships/tags" Target="../tags/tag719.xml"/><Relationship Id="rId31" Type="http://schemas.openxmlformats.org/officeDocument/2006/relationships/tags" Target="../tags/tag740.xml"/><Relationship Id="rId44" Type="http://schemas.openxmlformats.org/officeDocument/2006/relationships/tags" Target="../tags/tag753.xml"/><Relationship Id="rId52" Type="http://schemas.openxmlformats.org/officeDocument/2006/relationships/tags" Target="../tags/tag761.xml"/><Relationship Id="rId60" Type="http://schemas.openxmlformats.org/officeDocument/2006/relationships/tags" Target="../tags/tag769.xml"/><Relationship Id="rId65" Type="http://schemas.openxmlformats.org/officeDocument/2006/relationships/tags" Target="../tags/tag774.xml"/><Relationship Id="rId73" Type="http://schemas.openxmlformats.org/officeDocument/2006/relationships/tags" Target="../tags/tag782.xml"/><Relationship Id="rId78" Type="http://schemas.openxmlformats.org/officeDocument/2006/relationships/chart" Target="../charts/chart17.xml"/><Relationship Id="rId4" Type="http://schemas.openxmlformats.org/officeDocument/2006/relationships/tags" Target="../tags/tag713.xml"/><Relationship Id="rId9" Type="http://schemas.openxmlformats.org/officeDocument/2006/relationships/tags" Target="../tags/tag718.xml"/><Relationship Id="rId13" Type="http://schemas.openxmlformats.org/officeDocument/2006/relationships/tags" Target="../tags/tag722.xml"/><Relationship Id="rId18" Type="http://schemas.openxmlformats.org/officeDocument/2006/relationships/tags" Target="../tags/tag727.xml"/><Relationship Id="rId39" Type="http://schemas.openxmlformats.org/officeDocument/2006/relationships/tags" Target="../tags/tag748.xml"/><Relationship Id="rId34" Type="http://schemas.openxmlformats.org/officeDocument/2006/relationships/tags" Target="../tags/tag743.xml"/><Relationship Id="rId50" Type="http://schemas.openxmlformats.org/officeDocument/2006/relationships/tags" Target="../tags/tag759.xml"/><Relationship Id="rId55" Type="http://schemas.openxmlformats.org/officeDocument/2006/relationships/tags" Target="../tags/tag764.xml"/><Relationship Id="rId76" Type="http://schemas.openxmlformats.org/officeDocument/2006/relationships/oleObject" Target="../embeddings/oleObject27.bin"/><Relationship Id="rId7" Type="http://schemas.openxmlformats.org/officeDocument/2006/relationships/tags" Target="../tags/tag716.xml"/><Relationship Id="rId71" Type="http://schemas.openxmlformats.org/officeDocument/2006/relationships/tags" Target="../tags/tag780.xml"/><Relationship Id="rId2" Type="http://schemas.openxmlformats.org/officeDocument/2006/relationships/tags" Target="../tags/tag711.xml"/><Relationship Id="rId29" Type="http://schemas.openxmlformats.org/officeDocument/2006/relationships/tags" Target="../tags/tag738.xml"/></Relationships>
</file>

<file path=ppt/slides/_rels/slide27.xml.rels><?xml version="1.0" encoding="UTF-8" standalone="yes"?>
<Relationships xmlns="http://schemas.openxmlformats.org/package/2006/relationships"><Relationship Id="rId26" Type="http://schemas.openxmlformats.org/officeDocument/2006/relationships/tags" Target="../tags/tag809.xml"/><Relationship Id="rId21" Type="http://schemas.openxmlformats.org/officeDocument/2006/relationships/tags" Target="../tags/tag804.xml"/><Relationship Id="rId42" Type="http://schemas.openxmlformats.org/officeDocument/2006/relationships/tags" Target="../tags/tag825.xml"/><Relationship Id="rId47" Type="http://schemas.openxmlformats.org/officeDocument/2006/relationships/tags" Target="../tags/tag830.xml"/><Relationship Id="rId63" Type="http://schemas.openxmlformats.org/officeDocument/2006/relationships/tags" Target="../tags/tag846.xml"/><Relationship Id="rId68" Type="http://schemas.openxmlformats.org/officeDocument/2006/relationships/tags" Target="../tags/tag851.xml"/><Relationship Id="rId16" Type="http://schemas.openxmlformats.org/officeDocument/2006/relationships/tags" Target="../tags/tag799.xml"/><Relationship Id="rId11" Type="http://schemas.openxmlformats.org/officeDocument/2006/relationships/tags" Target="../tags/tag794.xml"/><Relationship Id="rId32" Type="http://schemas.openxmlformats.org/officeDocument/2006/relationships/tags" Target="../tags/tag815.xml"/><Relationship Id="rId37" Type="http://schemas.openxmlformats.org/officeDocument/2006/relationships/tags" Target="../tags/tag820.xml"/><Relationship Id="rId53" Type="http://schemas.openxmlformats.org/officeDocument/2006/relationships/tags" Target="../tags/tag836.xml"/><Relationship Id="rId58" Type="http://schemas.openxmlformats.org/officeDocument/2006/relationships/tags" Target="../tags/tag841.xml"/><Relationship Id="rId74" Type="http://schemas.openxmlformats.org/officeDocument/2006/relationships/tags" Target="../tags/tag857.xml"/><Relationship Id="rId79" Type="http://schemas.openxmlformats.org/officeDocument/2006/relationships/image" Target="../media/image43.emf"/><Relationship Id="rId5" Type="http://schemas.openxmlformats.org/officeDocument/2006/relationships/tags" Target="../tags/tag788.xml"/><Relationship Id="rId61" Type="http://schemas.openxmlformats.org/officeDocument/2006/relationships/tags" Target="../tags/tag844.xml"/><Relationship Id="rId19" Type="http://schemas.openxmlformats.org/officeDocument/2006/relationships/tags" Target="../tags/tag802.xml"/><Relationship Id="rId14" Type="http://schemas.openxmlformats.org/officeDocument/2006/relationships/tags" Target="../tags/tag797.xml"/><Relationship Id="rId22" Type="http://schemas.openxmlformats.org/officeDocument/2006/relationships/tags" Target="../tags/tag805.xml"/><Relationship Id="rId27" Type="http://schemas.openxmlformats.org/officeDocument/2006/relationships/tags" Target="../tags/tag810.xml"/><Relationship Id="rId30" Type="http://schemas.openxmlformats.org/officeDocument/2006/relationships/tags" Target="../tags/tag813.xml"/><Relationship Id="rId35" Type="http://schemas.openxmlformats.org/officeDocument/2006/relationships/tags" Target="../tags/tag818.xml"/><Relationship Id="rId43" Type="http://schemas.openxmlformats.org/officeDocument/2006/relationships/tags" Target="../tags/tag826.xml"/><Relationship Id="rId48" Type="http://schemas.openxmlformats.org/officeDocument/2006/relationships/tags" Target="../tags/tag831.xml"/><Relationship Id="rId56" Type="http://schemas.openxmlformats.org/officeDocument/2006/relationships/tags" Target="../tags/tag839.xml"/><Relationship Id="rId64" Type="http://schemas.openxmlformats.org/officeDocument/2006/relationships/tags" Target="../tags/tag847.xml"/><Relationship Id="rId69" Type="http://schemas.openxmlformats.org/officeDocument/2006/relationships/tags" Target="../tags/tag852.xml"/><Relationship Id="rId77" Type="http://schemas.openxmlformats.org/officeDocument/2006/relationships/slideLayout" Target="../slideLayouts/slideLayout27.xml"/><Relationship Id="rId8" Type="http://schemas.openxmlformats.org/officeDocument/2006/relationships/tags" Target="../tags/tag791.xml"/><Relationship Id="rId51" Type="http://schemas.openxmlformats.org/officeDocument/2006/relationships/tags" Target="../tags/tag834.xml"/><Relationship Id="rId72" Type="http://schemas.openxmlformats.org/officeDocument/2006/relationships/tags" Target="../tags/tag855.xml"/><Relationship Id="rId80" Type="http://schemas.openxmlformats.org/officeDocument/2006/relationships/chart" Target="../charts/chart19.xml"/><Relationship Id="rId3" Type="http://schemas.openxmlformats.org/officeDocument/2006/relationships/tags" Target="../tags/tag786.xml"/><Relationship Id="rId12" Type="http://schemas.openxmlformats.org/officeDocument/2006/relationships/tags" Target="../tags/tag795.xml"/><Relationship Id="rId17" Type="http://schemas.openxmlformats.org/officeDocument/2006/relationships/tags" Target="../tags/tag800.xml"/><Relationship Id="rId25" Type="http://schemas.openxmlformats.org/officeDocument/2006/relationships/tags" Target="../tags/tag808.xml"/><Relationship Id="rId33" Type="http://schemas.openxmlformats.org/officeDocument/2006/relationships/tags" Target="../tags/tag816.xml"/><Relationship Id="rId38" Type="http://schemas.openxmlformats.org/officeDocument/2006/relationships/tags" Target="../tags/tag821.xml"/><Relationship Id="rId46" Type="http://schemas.openxmlformats.org/officeDocument/2006/relationships/tags" Target="../tags/tag829.xml"/><Relationship Id="rId59" Type="http://schemas.openxmlformats.org/officeDocument/2006/relationships/tags" Target="../tags/tag842.xml"/><Relationship Id="rId67" Type="http://schemas.openxmlformats.org/officeDocument/2006/relationships/tags" Target="../tags/tag850.xml"/><Relationship Id="rId20" Type="http://schemas.openxmlformats.org/officeDocument/2006/relationships/tags" Target="../tags/tag803.xml"/><Relationship Id="rId41" Type="http://schemas.openxmlformats.org/officeDocument/2006/relationships/tags" Target="../tags/tag824.xml"/><Relationship Id="rId54" Type="http://schemas.openxmlformats.org/officeDocument/2006/relationships/tags" Target="../tags/tag837.xml"/><Relationship Id="rId62" Type="http://schemas.openxmlformats.org/officeDocument/2006/relationships/tags" Target="../tags/tag845.xml"/><Relationship Id="rId70" Type="http://schemas.openxmlformats.org/officeDocument/2006/relationships/tags" Target="../tags/tag853.xml"/><Relationship Id="rId75" Type="http://schemas.openxmlformats.org/officeDocument/2006/relationships/tags" Target="../tags/tag858.xml"/><Relationship Id="rId1" Type="http://schemas.openxmlformats.org/officeDocument/2006/relationships/tags" Target="../tags/tag784.xml"/><Relationship Id="rId6" Type="http://schemas.openxmlformats.org/officeDocument/2006/relationships/tags" Target="../tags/tag789.xml"/><Relationship Id="rId15" Type="http://schemas.openxmlformats.org/officeDocument/2006/relationships/tags" Target="../tags/tag798.xml"/><Relationship Id="rId23" Type="http://schemas.openxmlformats.org/officeDocument/2006/relationships/tags" Target="../tags/tag806.xml"/><Relationship Id="rId28" Type="http://schemas.openxmlformats.org/officeDocument/2006/relationships/tags" Target="../tags/tag811.xml"/><Relationship Id="rId36" Type="http://schemas.openxmlformats.org/officeDocument/2006/relationships/tags" Target="../tags/tag819.xml"/><Relationship Id="rId49" Type="http://schemas.openxmlformats.org/officeDocument/2006/relationships/tags" Target="../tags/tag832.xml"/><Relationship Id="rId57" Type="http://schemas.openxmlformats.org/officeDocument/2006/relationships/tags" Target="../tags/tag840.xml"/><Relationship Id="rId10" Type="http://schemas.openxmlformats.org/officeDocument/2006/relationships/tags" Target="../tags/tag793.xml"/><Relationship Id="rId31" Type="http://schemas.openxmlformats.org/officeDocument/2006/relationships/tags" Target="../tags/tag814.xml"/><Relationship Id="rId44" Type="http://schemas.openxmlformats.org/officeDocument/2006/relationships/tags" Target="../tags/tag827.xml"/><Relationship Id="rId52" Type="http://schemas.openxmlformats.org/officeDocument/2006/relationships/tags" Target="../tags/tag835.xml"/><Relationship Id="rId60" Type="http://schemas.openxmlformats.org/officeDocument/2006/relationships/tags" Target="../tags/tag843.xml"/><Relationship Id="rId65" Type="http://schemas.openxmlformats.org/officeDocument/2006/relationships/tags" Target="../tags/tag848.xml"/><Relationship Id="rId73" Type="http://schemas.openxmlformats.org/officeDocument/2006/relationships/tags" Target="../tags/tag856.xml"/><Relationship Id="rId78" Type="http://schemas.openxmlformats.org/officeDocument/2006/relationships/oleObject" Target="../embeddings/oleObject28.bin"/><Relationship Id="rId81" Type="http://schemas.openxmlformats.org/officeDocument/2006/relationships/chart" Target="../charts/chart20.xml"/><Relationship Id="rId4" Type="http://schemas.openxmlformats.org/officeDocument/2006/relationships/tags" Target="../tags/tag787.xml"/><Relationship Id="rId9" Type="http://schemas.openxmlformats.org/officeDocument/2006/relationships/tags" Target="../tags/tag792.xml"/><Relationship Id="rId13" Type="http://schemas.openxmlformats.org/officeDocument/2006/relationships/tags" Target="../tags/tag796.xml"/><Relationship Id="rId18" Type="http://schemas.openxmlformats.org/officeDocument/2006/relationships/tags" Target="../tags/tag801.xml"/><Relationship Id="rId39" Type="http://schemas.openxmlformats.org/officeDocument/2006/relationships/tags" Target="../tags/tag822.xml"/><Relationship Id="rId34" Type="http://schemas.openxmlformats.org/officeDocument/2006/relationships/tags" Target="../tags/tag817.xml"/><Relationship Id="rId50" Type="http://schemas.openxmlformats.org/officeDocument/2006/relationships/tags" Target="../tags/tag833.xml"/><Relationship Id="rId55" Type="http://schemas.openxmlformats.org/officeDocument/2006/relationships/tags" Target="../tags/tag838.xml"/><Relationship Id="rId76" Type="http://schemas.openxmlformats.org/officeDocument/2006/relationships/tags" Target="../tags/tag859.xml"/><Relationship Id="rId7" Type="http://schemas.openxmlformats.org/officeDocument/2006/relationships/tags" Target="../tags/tag790.xml"/><Relationship Id="rId71" Type="http://schemas.openxmlformats.org/officeDocument/2006/relationships/tags" Target="../tags/tag854.xml"/><Relationship Id="rId2" Type="http://schemas.openxmlformats.org/officeDocument/2006/relationships/tags" Target="../tags/tag785.xml"/><Relationship Id="rId29" Type="http://schemas.openxmlformats.org/officeDocument/2006/relationships/tags" Target="../tags/tag812.xml"/><Relationship Id="rId24" Type="http://schemas.openxmlformats.org/officeDocument/2006/relationships/tags" Target="../tags/tag807.xml"/><Relationship Id="rId40" Type="http://schemas.openxmlformats.org/officeDocument/2006/relationships/tags" Target="../tags/tag823.xml"/><Relationship Id="rId45" Type="http://schemas.openxmlformats.org/officeDocument/2006/relationships/tags" Target="../tags/tag828.xml"/><Relationship Id="rId66" Type="http://schemas.openxmlformats.org/officeDocument/2006/relationships/tags" Target="../tags/tag84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97_9E7F3FC5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2.xml"/><Relationship Id="rId5" Type="http://schemas.openxmlformats.org/officeDocument/2006/relationships/image" Target="../media/image43.emf"/><Relationship Id="rId4" Type="http://schemas.openxmlformats.org/officeDocument/2006/relationships/oleObject" Target="../embeddings/oleObject8.bin"/></Relationships>
</file>

<file path=ppt/slides/_rels/slide30.xml.rels><?xml version="1.0" encoding="UTF-8" standalone="yes"?>
<Relationships xmlns="http://schemas.openxmlformats.org/package/2006/relationships"><Relationship Id="rId13" Type="http://schemas.openxmlformats.org/officeDocument/2006/relationships/tags" Target="../tags/tag872.xml"/><Relationship Id="rId18" Type="http://schemas.openxmlformats.org/officeDocument/2006/relationships/tags" Target="../tags/tag877.xml"/><Relationship Id="rId26" Type="http://schemas.openxmlformats.org/officeDocument/2006/relationships/tags" Target="../tags/tag885.xml"/><Relationship Id="rId39" Type="http://schemas.openxmlformats.org/officeDocument/2006/relationships/tags" Target="../tags/tag898.xml"/><Relationship Id="rId21" Type="http://schemas.openxmlformats.org/officeDocument/2006/relationships/tags" Target="../tags/tag880.xml"/><Relationship Id="rId34" Type="http://schemas.openxmlformats.org/officeDocument/2006/relationships/tags" Target="../tags/tag893.xml"/><Relationship Id="rId42" Type="http://schemas.openxmlformats.org/officeDocument/2006/relationships/tags" Target="../tags/tag901.xml"/><Relationship Id="rId47" Type="http://schemas.openxmlformats.org/officeDocument/2006/relationships/tags" Target="../tags/tag906.xml"/><Relationship Id="rId50" Type="http://schemas.openxmlformats.org/officeDocument/2006/relationships/tags" Target="../tags/tag909.xml"/><Relationship Id="rId55" Type="http://schemas.openxmlformats.org/officeDocument/2006/relationships/tags" Target="../tags/tag914.xml"/><Relationship Id="rId7" Type="http://schemas.openxmlformats.org/officeDocument/2006/relationships/tags" Target="../tags/tag866.xml"/><Relationship Id="rId2" Type="http://schemas.openxmlformats.org/officeDocument/2006/relationships/tags" Target="../tags/tag861.xml"/><Relationship Id="rId16" Type="http://schemas.openxmlformats.org/officeDocument/2006/relationships/tags" Target="../tags/tag875.xml"/><Relationship Id="rId29" Type="http://schemas.openxmlformats.org/officeDocument/2006/relationships/tags" Target="../tags/tag888.xml"/><Relationship Id="rId11" Type="http://schemas.openxmlformats.org/officeDocument/2006/relationships/tags" Target="../tags/tag870.xml"/><Relationship Id="rId24" Type="http://schemas.openxmlformats.org/officeDocument/2006/relationships/tags" Target="../tags/tag883.xml"/><Relationship Id="rId32" Type="http://schemas.openxmlformats.org/officeDocument/2006/relationships/tags" Target="../tags/tag891.xml"/><Relationship Id="rId37" Type="http://schemas.openxmlformats.org/officeDocument/2006/relationships/tags" Target="../tags/tag896.xml"/><Relationship Id="rId40" Type="http://schemas.openxmlformats.org/officeDocument/2006/relationships/tags" Target="../tags/tag899.xml"/><Relationship Id="rId45" Type="http://schemas.openxmlformats.org/officeDocument/2006/relationships/tags" Target="../tags/tag904.xml"/><Relationship Id="rId53" Type="http://schemas.openxmlformats.org/officeDocument/2006/relationships/tags" Target="../tags/tag912.xml"/><Relationship Id="rId58" Type="http://schemas.openxmlformats.org/officeDocument/2006/relationships/oleObject" Target="../embeddings/oleObject29.bin"/><Relationship Id="rId5" Type="http://schemas.openxmlformats.org/officeDocument/2006/relationships/tags" Target="../tags/tag864.xml"/><Relationship Id="rId19" Type="http://schemas.openxmlformats.org/officeDocument/2006/relationships/tags" Target="../tags/tag878.xml"/><Relationship Id="rId4" Type="http://schemas.openxmlformats.org/officeDocument/2006/relationships/tags" Target="../tags/tag863.xml"/><Relationship Id="rId9" Type="http://schemas.openxmlformats.org/officeDocument/2006/relationships/tags" Target="../tags/tag868.xml"/><Relationship Id="rId14" Type="http://schemas.openxmlformats.org/officeDocument/2006/relationships/tags" Target="../tags/tag873.xml"/><Relationship Id="rId22" Type="http://schemas.openxmlformats.org/officeDocument/2006/relationships/tags" Target="../tags/tag881.xml"/><Relationship Id="rId27" Type="http://schemas.openxmlformats.org/officeDocument/2006/relationships/tags" Target="../tags/tag886.xml"/><Relationship Id="rId30" Type="http://schemas.openxmlformats.org/officeDocument/2006/relationships/tags" Target="../tags/tag889.xml"/><Relationship Id="rId35" Type="http://schemas.openxmlformats.org/officeDocument/2006/relationships/tags" Target="../tags/tag894.xml"/><Relationship Id="rId43" Type="http://schemas.openxmlformats.org/officeDocument/2006/relationships/tags" Target="../tags/tag902.xml"/><Relationship Id="rId48" Type="http://schemas.openxmlformats.org/officeDocument/2006/relationships/tags" Target="../tags/tag907.xml"/><Relationship Id="rId56" Type="http://schemas.openxmlformats.org/officeDocument/2006/relationships/tags" Target="../tags/tag915.xml"/><Relationship Id="rId8" Type="http://schemas.openxmlformats.org/officeDocument/2006/relationships/tags" Target="../tags/tag867.xml"/><Relationship Id="rId51" Type="http://schemas.openxmlformats.org/officeDocument/2006/relationships/tags" Target="../tags/tag910.xml"/><Relationship Id="rId3" Type="http://schemas.openxmlformats.org/officeDocument/2006/relationships/tags" Target="../tags/tag862.xml"/><Relationship Id="rId12" Type="http://schemas.openxmlformats.org/officeDocument/2006/relationships/tags" Target="../tags/tag871.xml"/><Relationship Id="rId17" Type="http://schemas.openxmlformats.org/officeDocument/2006/relationships/tags" Target="../tags/tag876.xml"/><Relationship Id="rId25" Type="http://schemas.openxmlformats.org/officeDocument/2006/relationships/tags" Target="../tags/tag884.xml"/><Relationship Id="rId33" Type="http://schemas.openxmlformats.org/officeDocument/2006/relationships/tags" Target="../tags/tag892.xml"/><Relationship Id="rId38" Type="http://schemas.openxmlformats.org/officeDocument/2006/relationships/tags" Target="../tags/tag897.xml"/><Relationship Id="rId46" Type="http://schemas.openxmlformats.org/officeDocument/2006/relationships/tags" Target="../tags/tag905.xml"/><Relationship Id="rId59" Type="http://schemas.openxmlformats.org/officeDocument/2006/relationships/image" Target="../media/image43.emf"/><Relationship Id="rId20" Type="http://schemas.openxmlformats.org/officeDocument/2006/relationships/tags" Target="../tags/tag879.xml"/><Relationship Id="rId41" Type="http://schemas.openxmlformats.org/officeDocument/2006/relationships/tags" Target="../tags/tag900.xml"/><Relationship Id="rId54" Type="http://schemas.openxmlformats.org/officeDocument/2006/relationships/tags" Target="../tags/tag913.xml"/><Relationship Id="rId1" Type="http://schemas.openxmlformats.org/officeDocument/2006/relationships/tags" Target="../tags/tag860.xml"/><Relationship Id="rId6" Type="http://schemas.openxmlformats.org/officeDocument/2006/relationships/tags" Target="../tags/tag865.xml"/><Relationship Id="rId15" Type="http://schemas.openxmlformats.org/officeDocument/2006/relationships/tags" Target="../tags/tag874.xml"/><Relationship Id="rId23" Type="http://schemas.openxmlformats.org/officeDocument/2006/relationships/tags" Target="../tags/tag882.xml"/><Relationship Id="rId28" Type="http://schemas.openxmlformats.org/officeDocument/2006/relationships/tags" Target="../tags/tag887.xml"/><Relationship Id="rId36" Type="http://schemas.openxmlformats.org/officeDocument/2006/relationships/tags" Target="../tags/tag895.xml"/><Relationship Id="rId49" Type="http://schemas.openxmlformats.org/officeDocument/2006/relationships/tags" Target="../tags/tag908.xml"/><Relationship Id="rId57" Type="http://schemas.openxmlformats.org/officeDocument/2006/relationships/slideLayout" Target="../slideLayouts/slideLayout21.xml"/><Relationship Id="rId10" Type="http://schemas.openxmlformats.org/officeDocument/2006/relationships/tags" Target="../tags/tag869.xml"/><Relationship Id="rId31" Type="http://schemas.openxmlformats.org/officeDocument/2006/relationships/tags" Target="../tags/tag890.xml"/><Relationship Id="rId44" Type="http://schemas.openxmlformats.org/officeDocument/2006/relationships/tags" Target="../tags/tag903.xml"/><Relationship Id="rId52" Type="http://schemas.openxmlformats.org/officeDocument/2006/relationships/tags" Target="../tags/tag911.xml"/><Relationship Id="rId60" Type="http://schemas.openxmlformats.org/officeDocument/2006/relationships/chart" Target="../charts/chart21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D2_56F7711A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38.xml"/><Relationship Id="rId21" Type="http://schemas.openxmlformats.org/officeDocument/2006/relationships/tags" Target="../tags/tag33.xml"/><Relationship Id="rId42" Type="http://schemas.openxmlformats.org/officeDocument/2006/relationships/tags" Target="../tags/tag54.xml"/><Relationship Id="rId47" Type="http://schemas.openxmlformats.org/officeDocument/2006/relationships/tags" Target="../tags/tag59.xml"/><Relationship Id="rId63" Type="http://schemas.openxmlformats.org/officeDocument/2006/relationships/tags" Target="../tags/tag75.xml"/><Relationship Id="rId68" Type="http://schemas.openxmlformats.org/officeDocument/2006/relationships/tags" Target="../tags/tag80.xml"/><Relationship Id="rId7" Type="http://schemas.openxmlformats.org/officeDocument/2006/relationships/tags" Target="../tags/tag19.xml"/><Relationship Id="rId71" Type="http://schemas.openxmlformats.org/officeDocument/2006/relationships/oleObject" Target="../embeddings/oleObject9.bin"/><Relationship Id="rId2" Type="http://schemas.openxmlformats.org/officeDocument/2006/relationships/tags" Target="../tags/tag14.xml"/><Relationship Id="rId16" Type="http://schemas.openxmlformats.org/officeDocument/2006/relationships/tags" Target="../tags/tag28.xml"/><Relationship Id="rId29" Type="http://schemas.openxmlformats.org/officeDocument/2006/relationships/tags" Target="../tags/tag41.xml"/><Relationship Id="rId11" Type="http://schemas.openxmlformats.org/officeDocument/2006/relationships/tags" Target="../tags/tag23.xml"/><Relationship Id="rId24" Type="http://schemas.openxmlformats.org/officeDocument/2006/relationships/tags" Target="../tags/tag36.xml"/><Relationship Id="rId32" Type="http://schemas.openxmlformats.org/officeDocument/2006/relationships/tags" Target="../tags/tag44.xml"/><Relationship Id="rId37" Type="http://schemas.openxmlformats.org/officeDocument/2006/relationships/tags" Target="../tags/tag49.xml"/><Relationship Id="rId40" Type="http://schemas.openxmlformats.org/officeDocument/2006/relationships/tags" Target="../tags/tag52.xml"/><Relationship Id="rId45" Type="http://schemas.openxmlformats.org/officeDocument/2006/relationships/tags" Target="../tags/tag57.xml"/><Relationship Id="rId53" Type="http://schemas.openxmlformats.org/officeDocument/2006/relationships/tags" Target="../tags/tag65.xml"/><Relationship Id="rId58" Type="http://schemas.openxmlformats.org/officeDocument/2006/relationships/tags" Target="../tags/tag70.xml"/><Relationship Id="rId66" Type="http://schemas.openxmlformats.org/officeDocument/2006/relationships/tags" Target="../tags/tag78.xml"/><Relationship Id="rId5" Type="http://schemas.openxmlformats.org/officeDocument/2006/relationships/tags" Target="../tags/tag17.xml"/><Relationship Id="rId61" Type="http://schemas.openxmlformats.org/officeDocument/2006/relationships/tags" Target="../tags/tag73.xml"/><Relationship Id="rId19" Type="http://schemas.openxmlformats.org/officeDocument/2006/relationships/tags" Target="../tags/tag3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tags" Target="../tags/tag39.xml"/><Relationship Id="rId30" Type="http://schemas.openxmlformats.org/officeDocument/2006/relationships/tags" Target="../tags/tag42.xml"/><Relationship Id="rId35" Type="http://schemas.openxmlformats.org/officeDocument/2006/relationships/tags" Target="../tags/tag47.xml"/><Relationship Id="rId43" Type="http://schemas.openxmlformats.org/officeDocument/2006/relationships/tags" Target="../tags/tag55.xml"/><Relationship Id="rId48" Type="http://schemas.openxmlformats.org/officeDocument/2006/relationships/tags" Target="../tags/tag60.xml"/><Relationship Id="rId56" Type="http://schemas.openxmlformats.org/officeDocument/2006/relationships/tags" Target="../tags/tag68.xml"/><Relationship Id="rId64" Type="http://schemas.openxmlformats.org/officeDocument/2006/relationships/tags" Target="../tags/tag76.xml"/><Relationship Id="rId69" Type="http://schemas.openxmlformats.org/officeDocument/2006/relationships/tags" Target="../tags/tag81.xml"/><Relationship Id="rId8" Type="http://schemas.openxmlformats.org/officeDocument/2006/relationships/tags" Target="../tags/tag20.xml"/><Relationship Id="rId51" Type="http://schemas.openxmlformats.org/officeDocument/2006/relationships/tags" Target="../tags/tag63.xml"/><Relationship Id="rId72" Type="http://schemas.openxmlformats.org/officeDocument/2006/relationships/image" Target="../media/image44.emf"/><Relationship Id="rId3" Type="http://schemas.openxmlformats.org/officeDocument/2006/relationships/tags" Target="../tags/tag15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tags" Target="../tags/tag37.xml"/><Relationship Id="rId33" Type="http://schemas.openxmlformats.org/officeDocument/2006/relationships/tags" Target="../tags/tag45.xml"/><Relationship Id="rId38" Type="http://schemas.openxmlformats.org/officeDocument/2006/relationships/tags" Target="../tags/tag50.xml"/><Relationship Id="rId46" Type="http://schemas.openxmlformats.org/officeDocument/2006/relationships/tags" Target="../tags/tag58.xml"/><Relationship Id="rId59" Type="http://schemas.openxmlformats.org/officeDocument/2006/relationships/tags" Target="../tags/tag71.xml"/><Relationship Id="rId67" Type="http://schemas.openxmlformats.org/officeDocument/2006/relationships/tags" Target="../tags/tag79.xml"/><Relationship Id="rId20" Type="http://schemas.openxmlformats.org/officeDocument/2006/relationships/tags" Target="../tags/tag32.xml"/><Relationship Id="rId41" Type="http://schemas.openxmlformats.org/officeDocument/2006/relationships/tags" Target="../tags/tag53.xml"/><Relationship Id="rId54" Type="http://schemas.openxmlformats.org/officeDocument/2006/relationships/tags" Target="../tags/tag66.xml"/><Relationship Id="rId62" Type="http://schemas.openxmlformats.org/officeDocument/2006/relationships/tags" Target="../tags/tag74.xml"/><Relationship Id="rId70" Type="http://schemas.openxmlformats.org/officeDocument/2006/relationships/slideLayout" Target="../slideLayouts/slideLayout21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5" Type="http://schemas.openxmlformats.org/officeDocument/2006/relationships/tags" Target="../tags/tag27.xml"/><Relationship Id="rId23" Type="http://schemas.openxmlformats.org/officeDocument/2006/relationships/tags" Target="../tags/tag35.xml"/><Relationship Id="rId28" Type="http://schemas.openxmlformats.org/officeDocument/2006/relationships/tags" Target="../tags/tag40.xml"/><Relationship Id="rId36" Type="http://schemas.openxmlformats.org/officeDocument/2006/relationships/tags" Target="../tags/tag48.xml"/><Relationship Id="rId49" Type="http://schemas.openxmlformats.org/officeDocument/2006/relationships/tags" Target="../tags/tag61.xml"/><Relationship Id="rId57" Type="http://schemas.openxmlformats.org/officeDocument/2006/relationships/tags" Target="../tags/tag69.xml"/><Relationship Id="rId10" Type="http://schemas.openxmlformats.org/officeDocument/2006/relationships/tags" Target="../tags/tag22.xml"/><Relationship Id="rId31" Type="http://schemas.openxmlformats.org/officeDocument/2006/relationships/tags" Target="../tags/tag43.xml"/><Relationship Id="rId44" Type="http://schemas.openxmlformats.org/officeDocument/2006/relationships/tags" Target="../tags/tag56.xml"/><Relationship Id="rId52" Type="http://schemas.openxmlformats.org/officeDocument/2006/relationships/tags" Target="../tags/tag64.xml"/><Relationship Id="rId60" Type="http://schemas.openxmlformats.org/officeDocument/2006/relationships/tags" Target="../tags/tag72.xml"/><Relationship Id="rId65" Type="http://schemas.openxmlformats.org/officeDocument/2006/relationships/tags" Target="../tags/tag77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39" Type="http://schemas.openxmlformats.org/officeDocument/2006/relationships/tags" Target="../tags/tag51.xml"/><Relationship Id="rId34" Type="http://schemas.openxmlformats.org/officeDocument/2006/relationships/tags" Target="../tags/tag46.xml"/><Relationship Id="rId50" Type="http://schemas.openxmlformats.org/officeDocument/2006/relationships/tags" Target="../tags/tag62.xml"/><Relationship Id="rId55" Type="http://schemas.openxmlformats.org/officeDocument/2006/relationships/tags" Target="../tags/tag6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8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83.xml"/><Relationship Id="rId4" Type="http://schemas.openxmlformats.org/officeDocument/2006/relationships/image" Target="../media/image4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6F8C43-CC61-4364-6A7E-65453971C3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8266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6F8C43-CC61-4364-6A7E-65453971C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54358BD-E02E-DB71-7713-5BC0AA0E46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/>
          </a:bodyPr>
          <a:lstStyle/>
          <a:p>
            <a:r>
              <a:rPr lang="en-GB"/>
              <a:t>2024 Rabies Strategic Demand Scenario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B9CEA7D-F570-A36B-67E6-3D2C5955B4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GB"/>
              <a:t>Rabies Strategic Demand Scenarios</a:t>
            </a:r>
            <a:br>
              <a:rPr lang="en-GB"/>
            </a:br>
            <a:br>
              <a:rPr lang="en-GB"/>
            </a:br>
            <a:br>
              <a:rPr lang="en-GB"/>
            </a:br>
            <a:endParaRPr lang="en-GB" b="0">
              <a:solidFill>
                <a:schemeClr val="accent3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F5C3E1E-E283-BF10-BC6B-CF4D8DAD6B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5938" y="224990"/>
            <a:ext cx="5832475" cy="281103"/>
          </a:xfrm>
        </p:spPr>
        <p:txBody>
          <a:bodyPr/>
          <a:lstStyle/>
          <a:p>
            <a:r>
              <a:rPr lang="en-GB" sz="1800" b="1">
                <a:solidFill>
                  <a:schemeClr val="accent3">
                    <a:lumMod val="75000"/>
                  </a:schemeClr>
                </a:solidFill>
              </a:rPr>
              <a:t>DRAF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1B48EC-8663-B8BD-3E28-0C502777BC7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353175"/>
            <a:ext cx="261938" cy="136525"/>
          </a:xfrm>
        </p:spPr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1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8634D7-1E97-3BAF-38EE-77020C3AF74B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53175"/>
            <a:ext cx="4114800" cy="136525"/>
          </a:xfrm>
        </p:spPr>
        <p:txBody>
          <a:bodyPr/>
          <a:lstStyle/>
          <a:p>
            <a:r>
              <a:rPr lang="en-GB"/>
              <a:t>Presentation Footer</a:t>
            </a:r>
          </a:p>
        </p:txBody>
      </p:sp>
    </p:spTree>
    <p:extLst>
      <p:ext uri="{BB962C8B-B14F-4D97-AF65-F5344CB8AC3E}">
        <p14:creationId xmlns:p14="http://schemas.microsoft.com/office/powerpoint/2010/main" val="3683958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B283A00-09C4-6DD4-06DC-BF293C1DDF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283A00-09C4-6DD4-06DC-BF293C1DDF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436D7C1B-B8D5-036A-1B80-AA7E9CFE26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se Forecast - Assumptions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61C7AED0-5A5C-ACBD-3036-A38DAD1CD7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8431114"/>
              </p:ext>
            </p:extLst>
          </p:nvPr>
        </p:nvGraphicFramePr>
        <p:xfrm>
          <a:off x="429109" y="938609"/>
          <a:ext cx="11503810" cy="5493491"/>
        </p:xfrm>
        <a:graphic>
          <a:graphicData uri="http://schemas.openxmlformats.org/drawingml/2006/table">
            <a:tbl>
              <a:tblPr firstRow="1">
                <a:tableStyleId>{073A0DAA-6AF3-43AB-8588-CEC1D06C72B9}</a:tableStyleId>
              </a:tblPr>
              <a:tblGrid>
                <a:gridCol w="1547049">
                  <a:extLst>
                    <a:ext uri="{9D8B030D-6E8A-4147-A177-3AD203B41FA5}">
                      <a16:colId xmlns:a16="http://schemas.microsoft.com/office/drawing/2014/main" val="904774762"/>
                    </a:ext>
                  </a:extLst>
                </a:gridCol>
                <a:gridCol w="738979">
                  <a:extLst>
                    <a:ext uri="{9D8B030D-6E8A-4147-A177-3AD203B41FA5}">
                      <a16:colId xmlns:a16="http://schemas.microsoft.com/office/drawing/2014/main" val="738656853"/>
                    </a:ext>
                  </a:extLst>
                </a:gridCol>
                <a:gridCol w="9217782">
                  <a:extLst>
                    <a:ext uri="{9D8B030D-6E8A-4147-A177-3AD203B41FA5}">
                      <a16:colId xmlns:a16="http://schemas.microsoft.com/office/drawing/2014/main" val="4151568052"/>
                    </a:ext>
                  </a:extLst>
                </a:gridCol>
              </a:tblGrid>
              <a:tr h="325555">
                <a:tc gridSpan="2"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emen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sumptions to be valida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672373"/>
                  </a:ext>
                </a:extLst>
              </a:tr>
              <a:tr h="282766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i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Vaccine “coverage”</a:t>
                      </a:r>
                    </a:p>
                  </a:txBody>
                  <a:tcPr marL="48000" marR="48000" marT="64008" marB="64008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1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Future</a:t>
                      </a:r>
                      <a:endParaRPr lang="en-GB" sz="16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9827" marR="9827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266700" rtl="0" eaLnBrk="1" fontAlgn="auto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Based on HAQ index (</a:t>
                      </a:r>
                      <a:r>
                        <a:rPr lang="en-GB" sz="16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Sreenivasan et al.)</a:t>
                      </a:r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, countries fall into one of </a:t>
                      </a:r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four </a:t>
                      </a:r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accine access categories: </a:t>
                      </a:r>
                    </a:p>
                    <a:p>
                      <a:pPr marL="342900" marR="0" lvl="0" indent="-342900" algn="l" defTabSz="266700" rtl="0" eaLnBrk="1" fontAlgn="auto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None </a:t>
                      </a:r>
                    </a:p>
                    <a:p>
                      <a:pPr marL="342900" marR="0" lvl="0" indent="-342900" algn="l" defTabSz="266700" rtl="0" eaLnBrk="1" fontAlgn="auto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Limited access</a:t>
                      </a:r>
                    </a:p>
                    <a:p>
                      <a:pPr marL="342900" marR="0" lvl="0" indent="-342900" algn="l" defTabSz="266700" rtl="0" eaLnBrk="1" fontAlgn="auto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Accessible</a:t>
                      </a:r>
                    </a:p>
                    <a:p>
                      <a:pPr marL="342900" marR="0" lvl="0" indent="-342900" algn="l" defTabSz="266700" rtl="0" eaLnBrk="1" fontAlgn="auto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Widely Accessible</a:t>
                      </a:r>
                    </a:p>
                    <a:p>
                      <a:pPr marL="0" marR="0" lvl="0" indent="0" algn="l" defTabSz="266700" rtl="0" eaLnBrk="1" fontAlgn="auto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  <a:p>
                      <a:pPr marL="0" marR="0" lvl="0" indent="0" algn="l" defTabSz="266700" rtl="0" eaLnBrk="1" fontAlgn="auto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For each category, a median measure of HAQ index, dog bite rate, and PEP rate was calculated based on data from 25 countries. </a:t>
                      </a:r>
                      <a:r>
                        <a:rPr lang="en-US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Median PEP rate per category </a:t>
                      </a:r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serves as a target for countries.</a:t>
                      </a:r>
                    </a:p>
                    <a:p>
                      <a:pPr marL="0" marR="0" lvl="0" indent="0" algn="l" defTabSz="266700" rtl="0" eaLnBrk="1" fontAlgn="auto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  <a:p>
                      <a:pPr marL="0" marR="0" lvl="0" indent="0" algn="l" defTabSz="266700" rtl="0" eaLnBrk="1" fontAlgn="auto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Increase in PEP rate to be modeled based on a country’s evolution from one Vaccine Access category to the next one in the span of 5 years (linear rate)</a:t>
                      </a:r>
                    </a:p>
                  </a:txBody>
                  <a:tcPr marT="27432" marB="27432" anchor="ctr" horzOverflow="overflow"/>
                </a:tc>
                <a:extLst>
                  <a:ext uri="{0D108BD9-81ED-4DB2-BD59-A6C34878D82A}">
                    <a16:rowId xmlns:a16="http://schemas.microsoft.com/office/drawing/2014/main" val="412334520"/>
                  </a:ext>
                </a:extLst>
              </a:tr>
              <a:tr h="95285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i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rop-out rate</a:t>
                      </a:r>
                    </a:p>
                  </a:txBody>
                  <a:tcPr marL="48000" marR="48000" marT="64008" marB="64008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GB" sz="16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9827" marR="9827" marT="27432" marB="27432" anchor="ctr"/>
                </a:tc>
                <a:tc>
                  <a:txBody>
                    <a:bodyPr/>
                    <a:lstStyle/>
                    <a:p>
                      <a:pPr marL="285750" marR="0" lvl="0" indent="-285750" algn="l" defTabSz="121917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Same for ID and IM</a:t>
                      </a:r>
                    </a:p>
                    <a:p>
                      <a:pPr marL="285750" marR="0" lvl="0" indent="-285750" algn="l" defTabSz="121917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30% drop-out rate for each consecutive dose</a:t>
                      </a:r>
                    </a:p>
                    <a:p>
                      <a:pPr marL="285750" marR="0" lvl="0" indent="-285750" algn="l" defTabSz="121917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ose 1= 100% completion rate / Dose 2=70% completion / Dose 3= 49% completion</a:t>
                      </a:r>
                    </a:p>
                  </a:txBody>
                  <a:tcPr marT="27432" marB="27432" anchor="ctr" horzOverflow="overflow"/>
                </a:tc>
                <a:extLst>
                  <a:ext uri="{0D108BD9-81ED-4DB2-BD59-A6C34878D82A}">
                    <a16:rowId xmlns:a16="http://schemas.microsoft.com/office/drawing/2014/main" val="3586857573"/>
                  </a:ext>
                </a:extLst>
              </a:tr>
              <a:tr h="10738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600" b="1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Logistics</a:t>
                      </a:r>
                      <a:endParaRPr lang="en-GB" sz="16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9827" marR="9827" marT="27432" marB="27432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9827" marR="9827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Wastage varies between urban/rural settings: 11% in urban settings (wastage factor=1.12) to 73% in rural</a:t>
                      </a:r>
                      <a:r>
                        <a:rPr lang="en-GB" sz="1600" b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 settings (wastage factor =3.7). Rural/urban share of population obtained from World Bank (2022)</a:t>
                      </a:r>
                    </a:p>
                    <a:p>
                      <a:pPr marL="0" marR="0" lvl="0" indent="0" algn="l" defTabSz="121917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GB" sz="1600" b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Average wastage in countries in scope: 47% (wastage factor=1.89)</a:t>
                      </a:r>
                    </a:p>
                  </a:txBody>
                  <a:tcPr marT="27432" marB="27432" anchor="ctr" horzOverflow="overflow"/>
                </a:tc>
                <a:extLst>
                  <a:ext uri="{0D108BD9-81ED-4DB2-BD59-A6C34878D82A}">
                    <a16:rowId xmlns:a16="http://schemas.microsoft.com/office/drawing/2014/main" val="272428181"/>
                  </a:ext>
                </a:extLst>
              </a:tr>
              <a:tr h="2900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1" i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Buffer</a:t>
                      </a:r>
                    </a:p>
                  </a:txBody>
                  <a:tcPr marL="9827" marR="9827" marT="27432" marB="27432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9827" marR="9827"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Buffer stocks = 25%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T="27432" marB="27432" anchor="ctr" horzOverflow="overflow"/>
                </a:tc>
                <a:extLst>
                  <a:ext uri="{0D108BD9-81ED-4DB2-BD59-A6C34878D82A}">
                    <a16:rowId xmlns:a16="http://schemas.microsoft.com/office/drawing/2014/main" val="6787164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19428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FD25DDA-98C0-E1DB-12F9-CB1C4D1A19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138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D25DDA-98C0-E1DB-12F9-CB1C4D1A19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386FA30-D010-321A-98AC-D28CD5107F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Future Target PEP rates are calculated based on median PEP rate measures from countries with known PEP usa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963731-F885-0E7F-C2E6-0E1FBD9358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11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EC38C0-8B99-E8A1-01AE-DB6018E1BD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esentation Footer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5907B628-BB49-966B-4E35-6A6DF83CBC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5529875"/>
              </p:ext>
            </p:extLst>
          </p:nvPr>
        </p:nvGraphicFramePr>
        <p:xfrm>
          <a:off x="515937" y="1431638"/>
          <a:ext cx="11187071" cy="420715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9304">
                  <a:extLst>
                    <a:ext uri="{9D8B030D-6E8A-4147-A177-3AD203B41FA5}">
                      <a16:colId xmlns:a16="http://schemas.microsoft.com/office/drawing/2014/main" val="757136176"/>
                    </a:ext>
                  </a:extLst>
                </a:gridCol>
                <a:gridCol w="511281">
                  <a:extLst>
                    <a:ext uri="{9D8B030D-6E8A-4147-A177-3AD203B41FA5}">
                      <a16:colId xmlns:a16="http://schemas.microsoft.com/office/drawing/2014/main" val="564637509"/>
                    </a:ext>
                  </a:extLst>
                </a:gridCol>
                <a:gridCol w="812414">
                  <a:extLst>
                    <a:ext uri="{9D8B030D-6E8A-4147-A177-3AD203B41FA5}">
                      <a16:colId xmlns:a16="http://schemas.microsoft.com/office/drawing/2014/main" val="3456896820"/>
                    </a:ext>
                  </a:extLst>
                </a:gridCol>
                <a:gridCol w="747556">
                  <a:extLst>
                    <a:ext uri="{9D8B030D-6E8A-4147-A177-3AD203B41FA5}">
                      <a16:colId xmlns:a16="http://schemas.microsoft.com/office/drawing/2014/main" val="232493783"/>
                    </a:ext>
                  </a:extLst>
                </a:gridCol>
                <a:gridCol w="1404454">
                  <a:extLst>
                    <a:ext uri="{9D8B030D-6E8A-4147-A177-3AD203B41FA5}">
                      <a16:colId xmlns:a16="http://schemas.microsoft.com/office/drawing/2014/main" val="2532667253"/>
                    </a:ext>
                  </a:extLst>
                </a:gridCol>
                <a:gridCol w="1003182">
                  <a:extLst>
                    <a:ext uri="{9D8B030D-6E8A-4147-A177-3AD203B41FA5}">
                      <a16:colId xmlns:a16="http://schemas.microsoft.com/office/drawing/2014/main" val="3013815980"/>
                    </a:ext>
                  </a:extLst>
                </a:gridCol>
                <a:gridCol w="1440535">
                  <a:extLst>
                    <a:ext uri="{9D8B030D-6E8A-4147-A177-3AD203B41FA5}">
                      <a16:colId xmlns:a16="http://schemas.microsoft.com/office/drawing/2014/main" val="551372626"/>
                    </a:ext>
                  </a:extLst>
                </a:gridCol>
                <a:gridCol w="1872605">
                  <a:extLst>
                    <a:ext uri="{9D8B030D-6E8A-4147-A177-3AD203B41FA5}">
                      <a16:colId xmlns:a16="http://schemas.microsoft.com/office/drawing/2014/main" val="909959874"/>
                    </a:ext>
                  </a:extLst>
                </a:gridCol>
                <a:gridCol w="1865740">
                  <a:extLst>
                    <a:ext uri="{9D8B030D-6E8A-4147-A177-3AD203B41FA5}">
                      <a16:colId xmlns:a16="http://schemas.microsoft.com/office/drawing/2014/main" val="3527820423"/>
                    </a:ext>
                  </a:extLst>
                </a:gridCol>
              </a:tblGrid>
              <a:tr h="84974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HAQ status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Q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te Rat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SR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SR IQR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P Rat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P Rate IQR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P Fold-Increase to get to next status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SR Fold-Increase to get to next status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8153754"/>
                  </a:ext>
                </a:extLst>
              </a:tr>
              <a:tr h="679851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ne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3802187"/>
                  </a:ext>
                </a:extLst>
              </a:tr>
              <a:tr h="892521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mited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3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6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5% - 3.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30 - 68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23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6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6020925"/>
                  </a:ext>
                </a:extLst>
              </a:tr>
              <a:tr h="892521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essible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5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7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1% - 17.0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7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76 - 329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48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4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604152"/>
                  </a:ext>
                </a:extLst>
              </a:tr>
              <a:tr h="892521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dely Accessible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.6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.8% - 68.7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7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8 - 801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10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9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67445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76409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73E2BC97-590B-2317-6A87-CA9A4CAA20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20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5" imgW="353" imgH="353" progId="TCLayout.ActiveDocument.1">
                  <p:embed/>
                </p:oleObj>
              </mc:Choice>
              <mc:Fallback>
                <p:oleObj name="think-cell Slide" r:id="rId75" imgW="353" imgH="35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E2BC97-590B-2317-6A87-CA9A4CAA20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5D9FC5E-FB6F-E140-DDE3-66FF9178FD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All 52 planned country introductions* between 2025 and 203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6F918F-9C24-1F53-1A93-483BA7874F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12779C-4930-8695-5C5D-BC9B0F635B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Country introduction assumed 1 year after application</a:t>
            </a:r>
          </a:p>
        </p:txBody>
      </p:sp>
      <p:sp>
        <p:nvSpPr>
          <p:cNvPr id="16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22288" y="1289050"/>
            <a:ext cx="1090613" cy="5873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41275" tIns="71438" rIns="0" bIns="28098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5A138B2-1896-48EB-9D37-8D2863E7FB89}" type="datetime'''''''''''''''''''2''0''''''2''''5'''''''''">
              <a:rPr lang="en-US" altLang="en-US" sz="1400" b="1" smtClean="0">
                <a:effectLst/>
                <a:cs typeface="+mn-cs"/>
              </a:rPr>
              <a:pPr/>
              <a:t>2025</a:t>
            </a:fld>
            <a:endParaRPr lang="en-US" sz="1400" b="1" dirty="0">
              <a:cs typeface="+mn-cs"/>
            </a:endParaRPr>
          </a:p>
        </p:txBody>
      </p:sp>
      <p:sp>
        <p:nvSpPr>
          <p:cNvPr id="17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22288" y="1876425"/>
            <a:ext cx="109061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41275" tIns="71438" rIns="0" bIns="28098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8E32E33-3063-4606-AB77-3FE26D9A08E0}" type="datetime'''''''''''''''''''''''''''''Be''''''n''''in'''''''''''">
              <a:rPr lang="en-US" altLang="en-US" sz="1400" smtClean="0">
                <a:cs typeface="+mn-cs"/>
              </a:rPr>
              <a:pPr/>
              <a:t>Benin</a:t>
            </a:fld>
            <a:endParaRPr lang="en-US" sz="1400" dirty="0">
              <a:cs typeface="+mn-cs"/>
            </a:endParaRPr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22288" y="2463800"/>
            <a:ext cx="109061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41275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CCE7041-A779-43AE-A2B9-82F49678D6C5}" type="datetime'''C''''''''''a''mbo''''''d''ia'''''''''''''''''''''''''''">
              <a:rPr lang="en-US" altLang="en-US" sz="1400" smtClean="0">
                <a:cs typeface="+mn-cs"/>
              </a:rPr>
              <a:pPr/>
              <a:t>Cambodia</a:t>
            </a:fld>
            <a:endParaRPr lang="en-US" sz="1400" dirty="0">
              <a:cs typeface="+mn-cs"/>
            </a:endParaRPr>
          </a:p>
        </p:txBody>
      </p:sp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7F655BA4-BC06-F7E0-8BD3-0A2AC85880A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612900" y="1289050"/>
            <a:ext cx="1185863" cy="5873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0" tIns="71438" rIns="0" bIns="28098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F8D6AF5-75B8-49E1-95D6-26C6FD2E8ECF}" type="datetime'''''20''''''''2''''''''''''''6'''''''">
              <a:rPr lang="en-US" altLang="en-US" sz="1400" b="1" smtClean="0">
                <a:effectLst/>
                <a:cs typeface="+mn-cs"/>
              </a:rPr>
              <a:pPr/>
              <a:t>2026</a:t>
            </a:fld>
            <a:endParaRPr lang="en-US" sz="1400" b="1" dirty="0">
              <a:cs typeface="+mn-cs"/>
            </a:endParaRPr>
          </a:p>
        </p:txBody>
      </p:sp>
      <p:sp>
        <p:nvSpPr>
          <p:cNvPr id="279" name="Text Placeholder 2">
            <a:extLst>
              <a:ext uri="{FF2B5EF4-FFF2-40B4-BE49-F238E27FC236}">
                <a16:creationId xmlns:a16="http://schemas.microsoft.com/office/drawing/2014/main" id="{F807C57B-D139-0C38-B1CF-C480F6C2C8D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798763" y="1289050"/>
            <a:ext cx="1089025" cy="5873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69850" tIns="71438" rIns="0" bIns="28098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27632B2-3822-4208-915B-C7234448B795}" type="datetime'''''2''''''''''''''''''''0''''''''''''2''''''7'">
              <a:rPr lang="en-US" altLang="en-US" sz="1400" b="1" smtClean="0">
                <a:effectLst/>
                <a:cs typeface="+mn-cs"/>
              </a:rPr>
              <a:pPr/>
              <a:t>2027</a:t>
            </a:fld>
            <a:endParaRPr lang="en-US" sz="1400" b="1" dirty="0">
              <a:cs typeface="+mn-cs"/>
            </a:endParaRPr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EA807D7B-B456-D48C-B7B6-5ED7D8703BB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887788" y="1289050"/>
            <a:ext cx="1090613" cy="5873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0" tIns="71438" rIns="0" bIns="28098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988D056-56BE-4E9C-B056-E71A2C8A7092}" type="datetime'''''202''''''''''''''''''''''''''8'''''''''''''''''''''">
              <a:rPr lang="en-US" altLang="en-US" sz="1400" b="1" smtClean="0">
                <a:effectLst/>
                <a:cs typeface="+mn-cs"/>
              </a:rPr>
              <a:pPr/>
              <a:t>2028</a:t>
            </a:fld>
            <a:endParaRPr lang="en-US" sz="1400" b="1" dirty="0">
              <a:cs typeface="+mn-cs"/>
            </a:endParaRPr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30ACD6DF-B334-403E-9AB6-BD929C5A6ED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978400" y="1289050"/>
            <a:ext cx="1090613" cy="5873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7938" tIns="71438" rIns="0" bIns="28098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F230C1A-4BE0-48AE-85E6-427AF3695289}" type="datetime'''''''20''''''''''2''''''''''''''''''''9'''''">
              <a:rPr lang="en-US" altLang="en-US" sz="1400" b="1" smtClean="0">
                <a:effectLst/>
                <a:cs typeface="+mn-cs"/>
              </a:rPr>
              <a:pPr/>
              <a:t>2029</a:t>
            </a:fld>
            <a:endParaRPr lang="en-US" sz="1400" b="1" dirty="0">
              <a:cs typeface="+mn-cs"/>
            </a:endParaRPr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C5A10208-979E-CFA9-3712-892103BACC5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069013" y="1289050"/>
            <a:ext cx="1089025" cy="5873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5875" tIns="71438" rIns="0" bIns="28098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C4B7D9B-C156-40C5-AD10-152B3181B437}" type="datetime'''''''''''2''''''''''''''''''''''0''''3''''''''''''''''0'''''">
              <a:rPr lang="en-US" altLang="en-US" sz="1400" b="1" smtClean="0">
                <a:effectLst/>
                <a:cs typeface="+mn-cs"/>
              </a:rPr>
              <a:pPr/>
              <a:t>2030</a:t>
            </a:fld>
            <a:endParaRPr lang="en-US" sz="1400" b="1" dirty="0">
              <a:cs typeface="+mn-cs"/>
            </a:endParaRPr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0BF0E1DB-E3E7-BBA4-DED1-57B2488CF35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158038" y="1289050"/>
            <a:ext cx="1090613" cy="5873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0" tIns="71438" rIns="0" bIns="28098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E74BE55-2E32-4D96-8251-AECAF516F7B1}" type="datetime'''''''''''''''''''2''''''''''''''''''0''''3''''''1'">
              <a:rPr lang="en-US" altLang="en-US" sz="1400" b="1" smtClean="0">
                <a:effectLst/>
                <a:cs typeface="+mn-cs"/>
              </a:rPr>
              <a:pPr/>
              <a:t>2031</a:t>
            </a:fld>
            <a:endParaRPr lang="en-US" sz="1400" b="1" dirty="0">
              <a:cs typeface="+mn-cs"/>
            </a:endParaRPr>
          </a:p>
        </p:txBody>
      </p:sp>
      <p:sp>
        <p:nvSpPr>
          <p:cNvPr id="284" name="Text Placeholder 2">
            <a:extLst>
              <a:ext uri="{FF2B5EF4-FFF2-40B4-BE49-F238E27FC236}">
                <a16:creationId xmlns:a16="http://schemas.microsoft.com/office/drawing/2014/main" id="{EF657C56-F80D-930A-0E92-72970037E4F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248650" y="1289050"/>
            <a:ext cx="1090613" cy="5873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0" tIns="71438" rIns="0" bIns="28098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97AC91B-72A0-45DC-8E9C-A73A9C0FF99D}" type="datetime'''''''''''2''''0''''''''''''''''3''''''2'''''''''''''''''''''">
              <a:rPr lang="en-US" altLang="en-US" sz="1400" b="1" smtClean="0">
                <a:effectLst/>
                <a:cs typeface="+mn-cs"/>
              </a:rPr>
              <a:pPr/>
              <a:t>2032</a:t>
            </a:fld>
            <a:endParaRPr lang="en-US" sz="1400" b="1" dirty="0">
              <a:cs typeface="+mn-cs"/>
            </a:endParaRPr>
          </a:p>
        </p:txBody>
      </p:sp>
      <p:sp>
        <p:nvSpPr>
          <p:cNvPr id="285" name="Text Placeholder 2">
            <a:extLst>
              <a:ext uri="{FF2B5EF4-FFF2-40B4-BE49-F238E27FC236}">
                <a16:creationId xmlns:a16="http://schemas.microsoft.com/office/drawing/2014/main" id="{097A0A58-D1C8-8486-A68D-BB00270F7EA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339263" y="1289050"/>
            <a:ext cx="1089025" cy="5873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9050" tIns="71438" rIns="0" bIns="28098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709D082-129A-41F3-A015-331FFCFEB374}" type="datetime'''''''''''2''''''''''''''''03''''''''''''''3'''''''''''''">
              <a:rPr lang="en-US" altLang="en-US" sz="1400" b="1" smtClean="0">
                <a:effectLst/>
                <a:cs typeface="+mn-cs"/>
              </a:rPr>
              <a:pPr/>
              <a:t>2033</a:t>
            </a:fld>
            <a:endParaRPr lang="en-US" sz="1400" b="1" dirty="0">
              <a:cs typeface="+mn-cs"/>
            </a:endParaRPr>
          </a:p>
        </p:txBody>
      </p:sp>
      <p:sp>
        <p:nvSpPr>
          <p:cNvPr id="286" name="Text Placeholder 2">
            <a:extLst>
              <a:ext uri="{FF2B5EF4-FFF2-40B4-BE49-F238E27FC236}">
                <a16:creationId xmlns:a16="http://schemas.microsoft.com/office/drawing/2014/main" id="{583BA5E5-7858-AF1C-C1F0-42C17BB3A35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428288" y="1289050"/>
            <a:ext cx="1090613" cy="5873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0" tIns="71438" rIns="0" bIns="28098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155B46F-67EB-4C32-B788-C0FE4FCC0324}" type="datetime'''''''20''''''''''''''''''''''''''''''''''''3''''''4'">
              <a:rPr lang="en-US" altLang="en-US" sz="1400" b="1" smtClean="0">
                <a:effectLst/>
                <a:cs typeface="+mn-cs"/>
              </a:rPr>
              <a:pPr/>
              <a:t>2034</a:t>
            </a:fld>
            <a:endParaRPr lang="en-US" sz="1400" b="1" dirty="0">
              <a:cs typeface="+mn-cs"/>
            </a:endParaRPr>
          </a:p>
        </p:txBody>
      </p:sp>
      <p:sp>
        <p:nvSpPr>
          <p:cNvPr id="397" name="Text Placeholder 2">
            <a:extLst>
              <a:ext uri="{FF2B5EF4-FFF2-40B4-BE49-F238E27FC236}">
                <a16:creationId xmlns:a16="http://schemas.microsoft.com/office/drawing/2014/main" id="{62C893F6-4C06-4821-C1B5-EA6B47A1068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22288" y="3051176"/>
            <a:ext cx="109061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41275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436DA9B-6E2F-4DC9-AA44-206A4056B4E5}" type="datetime'''''''C''''h''''''''''''a''''''''''''''''d'''">
              <a:rPr lang="en-US" altLang="en-US" sz="1400" smtClean="0">
                <a:cs typeface="+mn-cs"/>
              </a:rPr>
              <a:pPr/>
              <a:t>Chad</a:t>
            </a:fld>
            <a:endParaRPr lang="en-US" sz="1400" dirty="0">
              <a:cs typeface="+mn-cs"/>
            </a:endParaRPr>
          </a:p>
        </p:txBody>
      </p:sp>
      <p:sp>
        <p:nvSpPr>
          <p:cNvPr id="398" name="Text Placeholder 2">
            <a:extLst>
              <a:ext uri="{FF2B5EF4-FFF2-40B4-BE49-F238E27FC236}">
                <a16:creationId xmlns:a16="http://schemas.microsoft.com/office/drawing/2014/main" id="{CB3AFB97-E856-1366-068F-4C0E78B832E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22288" y="3638550"/>
            <a:ext cx="1090613" cy="585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41275" tIns="0" rIns="0" bIns="35083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7551450-4D22-4894-A97C-81A045373DC1}" type="datetime'C''''ô''''''''''''''''te ''d''''''''''’''I''vo''i''''''''''re'">
              <a:rPr lang="en-US" altLang="en-US" sz="1400" smtClean="0">
                <a:cs typeface="+mn-cs"/>
              </a:rPr>
              <a:pPr/>
              <a:t>Côte d’Ivoire</a:t>
            </a:fld>
            <a:endParaRPr lang="en-US" sz="1400" dirty="0">
              <a:cs typeface="+mn-cs"/>
            </a:endParaRPr>
          </a:p>
        </p:txBody>
      </p:sp>
      <p:sp>
        <p:nvSpPr>
          <p:cNvPr id="399" name="Text Placeholder 2">
            <a:extLst>
              <a:ext uri="{FF2B5EF4-FFF2-40B4-BE49-F238E27FC236}">
                <a16:creationId xmlns:a16="http://schemas.microsoft.com/office/drawing/2014/main" id="{9EDF5CB3-6985-2F44-6E8D-C4D40417044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22288" y="4224338"/>
            <a:ext cx="109061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41275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872E140-124D-43C4-A80B-2EA29EEDCA11}" type="datetime'Mada''g''''a''''''''''''''sc''''''''''''ar'''''''''''''">
              <a:rPr lang="en-US" altLang="en-US" sz="1400" smtClean="0">
                <a:cs typeface="+mn-cs"/>
              </a:rPr>
              <a:pPr/>
              <a:t>Madagascar</a:t>
            </a:fld>
            <a:endParaRPr lang="en-US" sz="1400" dirty="0">
              <a:cs typeface="+mn-cs"/>
            </a:endParaRPr>
          </a:p>
        </p:txBody>
      </p:sp>
      <p:sp>
        <p:nvSpPr>
          <p:cNvPr id="400" name="Text Placeholder 2">
            <a:extLst>
              <a:ext uri="{FF2B5EF4-FFF2-40B4-BE49-F238E27FC236}">
                <a16:creationId xmlns:a16="http://schemas.microsoft.com/office/drawing/2014/main" id="{BF8817F7-82A8-9DB9-E406-0416DFC391F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22288" y="4811713"/>
            <a:ext cx="109061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41275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FDD0D70-9C72-4D75-8B86-751E7BA78903}" type="datetime'''''''''''''''M''''a''''''''''''''''l''i'''''">
              <a:rPr lang="en-US" altLang="en-US" sz="1400" smtClean="0">
                <a:cs typeface="+mn-cs"/>
              </a:rPr>
              <a:pPr/>
              <a:t>Mali</a:t>
            </a:fld>
            <a:endParaRPr lang="en-US" sz="1400" dirty="0">
              <a:cs typeface="+mn-cs"/>
            </a:endParaRPr>
          </a:p>
        </p:txBody>
      </p:sp>
      <p:sp>
        <p:nvSpPr>
          <p:cNvPr id="401" name="Text Placeholder 2">
            <a:extLst>
              <a:ext uri="{FF2B5EF4-FFF2-40B4-BE49-F238E27FC236}">
                <a16:creationId xmlns:a16="http://schemas.microsoft.com/office/drawing/2014/main" id="{5A104948-9D3F-67EE-325D-314834C9780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22288" y="5399088"/>
            <a:ext cx="1090613" cy="293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41275" tIns="0" rIns="0" bIns="5873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1009D7B-37DB-4F2C-A158-5D1743C8778D}" type="datetime'''''''''T''''an''z''''''''ani''''''''a'' ''''U''''''R'''''''">
              <a:rPr lang="en-US" altLang="en-US" sz="1400" smtClean="0">
                <a:cs typeface="+mn-cs"/>
              </a:rPr>
              <a:pPr/>
              <a:t>Tanzania UR</a:t>
            </a:fld>
            <a:endParaRPr lang="en-US" sz="1400" dirty="0">
              <a:cs typeface="+mn-cs"/>
            </a:endParaRPr>
          </a:p>
        </p:txBody>
      </p:sp>
      <p:sp>
        <p:nvSpPr>
          <p:cNvPr id="403" name="Text Placeholder 2">
            <a:extLst>
              <a:ext uri="{FF2B5EF4-FFF2-40B4-BE49-F238E27FC236}">
                <a16:creationId xmlns:a16="http://schemas.microsoft.com/office/drawing/2014/main" id="{80264B16-07DE-4365-F694-7694FE801B7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612900" y="1876425"/>
            <a:ext cx="118586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71438" rIns="0" bIns="28098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4AEBBAE-E399-4452-A5EA-D2AC233DF1AC}" type="datetime'''''B''u''''r''''''''''k''''i''''n''a'' ''F''''''a''s''''o'">
              <a:rPr lang="en-US" altLang="en-US" sz="1400" smtClean="0">
                <a:cs typeface="+mn-cs"/>
              </a:rPr>
              <a:pPr/>
              <a:t>Burkina Faso</a:t>
            </a:fld>
            <a:endParaRPr lang="en-US" sz="1400" dirty="0">
              <a:cs typeface="+mn-cs"/>
            </a:endParaRPr>
          </a:p>
        </p:txBody>
      </p:sp>
      <p:sp>
        <p:nvSpPr>
          <p:cNvPr id="404" name="Text Placeholder 2">
            <a:extLst>
              <a:ext uri="{FF2B5EF4-FFF2-40B4-BE49-F238E27FC236}">
                <a16:creationId xmlns:a16="http://schemas.microsoft.com/office/drawing/2014/main" id="{CFA81881-0E9B-F57E-C8F0-58A70F1777FE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612900" y="2463800"/>
            <a:ext cx="118586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2AF991E-5A98-42CC-B2F6-66DF87102611}" type="datetime'''''''''''''''''''''''''Came''''''''''ro''''o''''''''''''n'">
              <a:rPr lang="en-US" altLang="en-US" sz="1400" smtClean="0">
                <a:cs typeface="+mn-cs"/>
              </a:rPr>
              <a:pPr/>
              <a:t>Cameroon</a:t>
            </a:fld>
            <a:endParaRPr lang="en-US" sz="1400" dirty="0">
              <a:cs typeface="+mn-cs"/>
            </a:endParaRPr>
          </a:p>
        </p:txBody>
      </p:sp>
      <p:sp>
        <p:nvSpPr>
          <p:cNvPr id="405" name="Text Placeholder 2">
            <a:extLst>
              <a:ext uri="{FF2B5EF4-FFF2-40B4-BE49-F238E27FC236}">
                <a16:creationId xmlns:a16="http://schemas.microsoft.com/office/drawing/2014/main" id="{69D62A1E-6CA4-B574-4816-B3D6467C235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612900" y="3051176"/>
            <a:ext cx="118586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11747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0E3D903-D3B5-43ED-AE91-BBB05C8D7853}" type="datetime'Centr''al African ''R''''''''e''''pub''''''''l''''i''''''''c'">
              <a:rPr lang="en-US" altLang="en-US" sz="1400" smtClean="0">
                <a:cs typeface="+mn-cs"/>
              </a:rPr>
              <a:pPr/>
              <a:t>Central African Republic</a:t>
            </a:fld>
            <a:endParaRPr lang="en-US" sz="1400" dirty="0">
              <a:cs typeface="+mn-cs"/>
            </a:endParaRPr>
          </a:p>
        </p:txBody>
      </p:sp>
      <p:sp>
        <p:nvSpPr>
          <p:cNvPr id="406" name="Text Placeholder 2">
            <a:extLst>
              <a:ext uri="{FF2B5EF4-FFF2-40B4-BE49-F238E27FC236}">
                <a16:creationId xmlns:a16="http://schemas.microsoft.com/office/drawing/2014/main" id="{206BB16C-2CE2-D84F-DD35-91F94BA00450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612900" y="3638550"/>
            <a:ext cx="1185863" cy="585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35083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3D21F51-E3AF-4F63-B9C4-04C60EA06725}" type="datetime'Er''''i''''''''tr''''''''''''''''''''''''''''''''e''''''a'">
              <a:rPr lang="en-US" altLang="en-US" sz="1400" smtClean="0">
                <a:cs typeface="+mn-cs"/>
              </a:rPr>
              <a:pPr/>
              <a:t>Eritrea</a:t>
            </a:fld>
            <a:endParaRPr lang="en-US" sz="1400" dirty="0">
              <a:cs typeface="+mn-cs"/>
            </a:endParaRPr>
          </a:p>
        </p:txBody>
      </p:sp>
      <p:sp>
        <p:nvSpPr>
          <p:cNvPr id="407" name="Text Placeholder 2">
            <a:extLst>
              <a:ext uri="{FF2B5EF4-FFF2-40B4-BE49-F238E27FC236}">
                <a16:creationId xmlns:a16="http://schemas.microsoft.com/office/drawing/2014/main" id="{A6B01EBC-27D1-53C5-FBFF-4E7149079C6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612900" y="4224338"/>
            <a:ext cx="118586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478FA0A-AE30-441E-B92C-B0DCCA37B688}" type="datetime'''''''''''K''''en''''y''''''a'''''''">
              <a:rPr lang="en-US" altLang="en-US" sz="1400" smtClean="0">
                <a:cs typeface="+mn-cs"/>
              </a:rPr>
              <a:pPr/>
              <a:t>Kenya</a:t>
            </a:fld>
            <a:endParaRPr lang="en-US" sz="1400" dirty="0">
              <a:cs typeface="+mn-cs"/>
            </a:endParaRPr>
          </a:p>
        </p:txBody>
      </p:sp>
      <p:sp>
        <p:nvSpPr>
          <p:cNvPr id="408" name="Text Placeholder 2">
            <a:extLst>
              <a:ext uri="{FF2B5EF4-FFF2-40B4-BE49-F238E27FC236}">
                <a16:creationId xmlns:a16="http://schemas.microsoft.com/office/drawing/2014/main" id="{F8B2D4A3-FF6A-73D4-1648-291553655AA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612900" y="4811713"/>
            <a:ext cx="118586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6873B24-82DE-463D-8D7A-1B5F11AD6886}" type="datetime'''''''''''''''N''''e''''''''''''''p''''a''''''''l'''''''''''">
              <a:rPr lang="en-US" altLang="en-US" sz="1400" smtClean="0">
                <a:cs typeface="+mn-cs"/>
              </a:rPr>
              <a:pPr/>
              <a:t>Nepal</a:t>
            </a:fld>
            <a:endParaRPr lang="en-US" sz="1400" dirty="0">
              <a:cs typeface="+mn-cs"/>
            </a:endParaRPr>
          </a:p>
        </p:txBody>
      </p:sp>
      <p:sp>
        <p:nvSpPr>
          <p:cNvPr id="410" name="Text Placeholder 2">
            <a:extLst>
              <a:ext uri="{FF2B5EF4-FFF2-40B4-BE49-F238E27FC236}">
                <a16:creationId xmlns:a16="http://schemas.microsoft.com/office/drawing/2014/main" id="{6495A14E-94FE-90F3-0224-8E30011946EB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798763" y="1876425"/>
            <a:ext cx="1089025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69850" tIns="71438" rIns="0" bIns="28098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35EC975-38A0-4DF9-9A94-8975CEDD5708}" type="datetime'B''''''''''''''''''''''''''u''r''''''un''''''''d''i'''''">
              <a:rPr lang="en-US" altLang="en-US" sz="1400" smtClean="0">
                <a:cs typeface="+mn-cs"/>
              </a:rPr>
              <a:pPr/>
              <a:t>Burundi</a:t>
            </a:fld>
            <a:endParaRPr lang="en-US" sz="1400" dirty="0">
              <a:cs typeface="+mn-cs"/>
            </a:endParaRPr>
          </a:p>
        </p:txBody>
      </p:sp>
      <p:sp>
        <p:nvSpPr>
          <p:cNvPr id="411" name="Text Placeholder 2">
            <a:extLst>
              <a:ext uri="{FF2B5EF4-FFF2-40B4-BE49-F238E27FC236}">
                <a16:creationId xmlns:a16="http://schemas.microsoft.com/office/drawing/2014/main" id="{6E09D70C-7035-018A-9BCB-FE433D98421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798763" y="2463800"/>
            <a:ext cx="1089025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69850" tIns="0" rIns="74613" bIns="11747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C95C1B0-1E1A-4479-A71F-D91353B5A4D6}" type="datetime'''Co''''''''n''''''''''g''o ''''''D''''R''C'''''''''''''''''''">
              <a:rPr lang="en-US" altLang="en-US" sz="1400" smtClean="0">
                <a:cs typeface="+mn-cs"/>
              </a:rPr>
              <a:pPr/>
              <a:t>Congo DRC</a:t>
            </a:fld>
            <a:endParaRPr lang="en-US" sz="1400" dirty="0">
              <a:cs typeface="+mn-cs"/>
            </a:endParaRPr>
          </a:p>
        </p:txBody>
      </p:sp>
      <p:sp>
        <p:nvSpPr>
          <p:cNvPr id="412" name="Text Placeholder 2">
            <a:extLst>
              <a:ext uri="{FF2B5EF4-FFF2-40B4-BE49-F238E27FC236}">
                <a16:creationId xmlns:a16="http://schemas.microsoft.com/office/drawing/2014/main" id="{9BFEF833-1384-D495-6928-DCCAAEA7804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798763" y="3051176"/>
            <a:ext cx="1089025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69850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6106AAE-6C70-4837-9F43-244BAF4BDCDE}" type="datetime'''''Co''''''''n''g''''''''''''''o'''''''''">
              <a:rPr lang="en-US" altLang="en-US" sz="1400" smtClean="0">
                <a:cs typeface="+mn-cs"/>
              </a:rPr>
              <a:pPr/>
              <a:t>Congo</a:t>
            </a:fld>
            <a:endParaRPr lang="en-US" sz="1400" dirty="0">
              <a:cs typeface="+mn-cs"/>
            </a:endParaRPr>
          </a:p>
        </p:txBody>
      </p:sp>
      <p:sp>
        <p:nvSpPr>
          <p:cNvPr id="413" name="Text Placeholder 2">
            <a:extLst>
              <a:ext uri="{FF2B5EF4-FFF2-40B4-BE49-F238E27FC236}">
                <a16:creationId xmlns:a16="http://schemas.microsoft.com/office/drawing/2014/main" id="{ECBAEFD9-9CB6-0E0C-E5BF-A3674914D98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798763" y="3638550"/>
            <a:ext cx="1089025" cy="585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69850" tIns="0" rIns="0" bIns="35083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5429362-2F1E-4BEB-BAB0-D64D078FDC5D}" type="datetime'''''''G''''''h''''an''''''''''''''''''''''''a'''''''''">
              <a:rPr lang="en-US" altLang="en-US" sz="1400" smtClean="0">
                <a:cs typeface="+mn-cs"/>
              </a:rPr>
              <a:pPr/>
              <a:t>Ghana</a:t>
            </a:fld>
            <a:endParaRPr lang="en-US" sz="1400" dirty="0">
              <a:cs typeface="+mn-cs"/>
            </a:endParaRPr>
          </a:p>
        </p:txBody>
      </p:sp>
      <p:sp>
        <p:nvSpPr>
          <p:cNvPr id="414" name="Text Placeholder 2">
            <a:extLst>
              <a:ext uri="{FF2B5EF4-FFF2-40B4-BE49-F238E27FC236}">
                <a16:creationId xmlns:a16="http://schemas.microsoft.com/office/drawing/2014/main" id="{509522F8-CC4A-C11C-BC2C-BA06D05A681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798763" y="4224338"/>
            <a:ext cx="1089025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69850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A3CBB00-94A7-4965-ABCD-E259D6F35CAE}" type="datetime'''''''''''''''''''''''''''''''M''al''a''''''''''w''''''i'">
              <a:rPr lang="en-US" altLang="en-US" sz="1400" smtClean="0">
                <a:cs typeface="+mn-cs"/>
              </a:rPr>
              <a:pPr/>
              <a:t>Malawi</a:t>
            </a:fld>
            <a:endParaRPr lang="en-US" sz="1400" dirty="0">
              <a:cs typeface="+mn-cs"/>
            </a:endParaRPr>
          </a:p>
        </p:txBody>
      </p:sp>
      <p:sp>
        <p:nvSpPr>
          <p:cNvPr id="415" name="Text Placeholder 2">
            <a:extLst>
              <a:ext uri="{FF2B5EF4-FFF2-40B4-BE49-F238E27FC236}">
                <a16:creationId xmlns:a16="http://schemas.microsoft.com/office/drawing/2014/main" id="{D59A0012-A68F-AE19-3BE6-6C6787BEC79F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798763" y="4811713"/>
            <a:ext cx="1089025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69850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F9DABD9-6301-4191-8A0A-153394290572}" type="datetime'U''''ga''''''''''''''n''''''''da'''''''''''''''''''''''''''">
              <a:rPr lang="en-US" altLang="en-US" sz="1400" smtClean="0">
                <a:cs typeface="+mn-cs"/>
              </a:rPr>
              <a:pPr/>
              <a:t>Uganda</a:t>
            </a:fld>
            <a:endParaRPr lang="en-US" sz="1400" dirty="0">
              <a:cs typeface="+mn-cs"/>
            </a:endParaRPr>
          </a:p>
        </p:txBody>
      </p:sp>
      <p:sp>
        <p:nvSpPr>
          <p:cNvPr id="417" name="Text Placeholder 2">
            <a:extLst>
              <a:ext uri="{FF2B5EF4-FFF2-40B4-BE49-F238E27FC236}">
                <a16:creationId xmlns:a16="http://schemas.microsoft.com/office/drawing/2014/main" id="{0638E104-BC96-5AD9-9272-3080AAAC3AB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887788" y="1876425"/>
            <a:ext cx="109061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71438" rIns="0" bIns="28098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F36A959-98B9-4681-A817-430BAC9EA7E0}" type="datetime'''''''''''''''''M''''''''oz''''''''''am''''b''''iq''''''ue'''">
              <a:rPr lang="en-US" altLang="en-US" sz="1400" smtClean="0">
                <a:cs typeface="+mn-cs"/>
              </a:rPr>
              <a:pPr/>
              <a:t>Mozambique</a:t>
            </a:fld>
            <a:endParaRPr lang="en-US" sz="1400" dirty="0">
              <a:cs typeface="+mn-cs"/>
            </a:endParaRPr>
          </a:p>
        </p:txBody>
      </p:sp>
      <p:sp>
        <p:nvSpPr>
          <p:cNvPr id="418" name="Text Placeholder 2">
            <a:extLst>
              <a:ext uri="{FF2B5EF4-FFF2-40B4-BE49-F238E27FC236}">
                <a16:creationId xmlns:a16="http://schemas.microsoft.com/office/drawing/2014/main" id="{E7BC8F0D-42B3-581F-BF77-1C97CF081202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887788" y="2463800"/>
            <a:ext cx="109061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8243C66-2B8B-4002-B2B2-EF3F6F3CC26B}" type="datetime'''''''N''''''''''''''''''i''''''''''g''''er'''''''''''''''''''">
              <a:rPr lang="en-US" altLang="en-US" sz="1400" smtClean="0">
                <a:cs typeface="+mn-cs"/>
              </a:rPr>
              <a:pPr/>
              <a:t>Niger</a:t>
            </a:fld>
            <a:endParaRPr lang="en-US" sz="1400" dirty="0">
              <a:cs typeface="+mn-cs"/>
            </a:endParaRPr>
          </a:p>
        </p:txBody>
      </p:sp>
      <p:sp>
        <p:nvSpPr>
          <p:cNvPr id="419" name="Text Placeholder 2">
            <a:extLst>
              <a:ext uri="{FF2B5EF4-FFF2-40B4-BE49-F238E27FC236}">
                <a16:creationId xmlns:a16="http://schemas.microsoft.com/office/drawing/2014/main" id="{65CB9479-821A-DEEA-F5AD-B7199DB0D0EE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887788" y="3051176"/>
            <a:ext cx="109061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5285782-8CBD-4FB6-AE0F-E6B143820DAF}" type="datetime'N''''i''''''''g''''''''''e''''''''''ri''''''''''''''''a'''">
              <a:rPr lang="en-US" altLang="en-US" sz="1400" smtClean="0">
                <a:cs typeface="+mn-cs"/>
              </a:rPr>
              <a:pPr/>
              <a:t>Nigeria</a:t>
            </a:fld>
            <a:endParaRPr lang="en-US" sz="1400" dirty="0">
              <a:cs typeface="+mn-cs"/>
            </a:endParaRPr>
          </a:p>
        </p:txBody>
      </p:sp>
      <p:sp>
        <p:nvSpPr>
          <p:cNvPr id="420" name="Text Placeholder 2">
            <a:extLst>
              <a:ext uri="{FF2B5EF4-FFF2-40B4-BE49-F238E27FC236}">
                <a16:creationId xmlns:a16="http://schemas.microsoft.com/office/drawing/2014/main" id="{F7375AEC-3403-42FF-C4EB-6D927824498B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3887788" y="3638550"/>
            <a:ext cx="1090613" cy="585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35083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C2EA3C7-5E6B-4CA3-ADF8-AA2F409F8DFB}" type="datetime'''''''''''''''''R''''''''''''''w''''''an''''''da'''''''''''''">
              <a:rPr lang="en-US" altLang="en-US" sz="1400" smtClean="0">
                <a:cs typeface="+mn-cs"/>
              </a:rPr>
              <a:pPr/>
              <a:t>Rwanda</a:t>
            </a:fld>
            <a:endParaRPr lang="en-US" sz="1400" dirty="0">
              <a:cs typeface="+mn-cs"/>
            </a:endParaRPr>
          </a:p>
        </p:txBody>
      </p:sp>
      <p:sp>
        <p:nvSpPr>
          <p:cNvPr id="421" name="Text Placeholder 2">
            <a:extLst>
              <a:ext uri="{FF2B5EF4-FFF2-40B4-BE49-F238E27FC236}">
                <a16:creationId xmlns:a16="http://schemas.microsoft.com/office/drawing/2014/main" id="{5670ED72-7A34-91FC-0A83-EC487C40225D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3887788" y="4224338"/>
            <a:ext cx="109061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3E13980-303B-453C-8F74-FE210F762B28}" type="datetime'S''''''e''n''''e''''''''''''g''a''''''''''''''''''''''l'''">
              <a:rPr lang="en-US" altLang="en-US" sz="1400" smtClean="0">
                <a:cs typeface="+mn-cs"/>
              </a:rPr>
              <a:pPr/>
              <a:t>Senegal</a:t>
            </a:fld>
            <a:endParaRPr lang="en-US" sz="1400" dirty="0">
              <a:cs typeface="+mn-cs"/>
            </a:endParaRPr>
          </a:p>
        </p:txBody>
      </p:sp>
      <p:sp>
        <p:nvSpPr>
          <p:cNvPr id="422" name="Text Placeholder 2">
            <a:extLst>
              <a:ext uri="{FF2B5EF4-FFF2-40B4-BE49-F238E27FC236}">
                <a16:creationId xmlns:a16="http://schemas.microsoft.com/office/drawing/2014/main" id="{6462A1C9-64A8-6890-90ED-D2320064A6A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887788" y="4811713"/>
            <a:ext cx="109061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2E6BBAC-9694-4670-967F-FB40D20AFF73}" type="datetime'''''''''''Zi''''''''''''''m''''''''''''''b''''''a''bwe'''''''">
              <a:rPr lang="en-US" altLang="en-US" sz="1400" smtClean="0">
                <a:cs typeface="+mn-cs"/>
              </a:rPr>
              <a:pPr/>
              <a:t>Zimbabwe</a:t>
            </a:fld>
            <a:endParaRPr lang="en-US" sz="1400" dirty="0">
              <a:cs typeface="+mn-cs"/>
            </a:endParaRPr>
          </a:p>
        </p:txBody>
      </p:sp>
      <p:sp>
        <p:nvSpPr>
          <p:cNvPr id="424" name="Text Placeholder 2">
            <a:extLst>
              <a:ext uri="{FF2B5EF4-FFF2-40B4-BE49-F238E27FC236}">
                <a16:creationId xmlns:a16="http://schemas.microsoft.com/office/drawing/2014/main" id="{83B43239-4CC4-6616-C206-B5E64FBD0AC2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4978400" y="1876425"/>
            <a:ext cx="109061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7938" tIns="71438" rIns="0" bIns="28098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98B4BFD-BDF7-47E1-AED8-0AE6679B7D61}" type="datetime'''B''angl''''a''d''e''''''''''s''''''h'''''''''''''''''''''''">
              <a:rPr lang="en-US" altLang="en-US" sz="1400" smtClean="0">
                <a:cs typeface="+mn-cs"/>
              </a:rPr>
              <a:pPr/>
              <a:t>Bangladesh</a:t>
            </a:fld>
            <a:endParaRPr lang="en-US" sz="1400" dirty="0">
              <a:cs typeface="+mn-cs"/>
            </a:endParaRPr>
          </a:p>
        </p:txBody>
      </p:sp>
      <p:sp>
        <p:nvSpPr>
          <p:cNvPr id="425" name="Text Placeholder 2">
            <a:extLst>
              <a:ext uri="{FF2B5EF4-FFF2-40B4-BE49-F238E27FC236}">
                <a16:creationId xmlns:a16="http://schemas.microsoft.com/office/drawing/2014/main" id="{0CFFEAB7-8532-348D-32A6-8773D898212A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4978400" y="2463800"/>
            <a:ext cx="109061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7938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9282A74-BBE5-46BB-8959-DFCC509DA8D4}" type="datetime'''''''''''L''ib''''''''''''''e''''''''''r''''''''i''''''''''a'">
              <a:rPr lang="en-US" altLang="en-US" sz="1400" smtClean="0">
                <a:cs typeface="+mn-cs"/>
              </a:rPr>
              <a:pPr/>
              <a:t>Liberia</a:t>
            </a:fld>
            <a:endParaRPr lang="en-US" sz="1400" dirty="0">
              <a:cs typeface="+mn-cs"/>
            </a:endParaRPr>
          </a:p>
        </p:txBody>
      </p:sp>
      <p:sp>
        <p:nvSpPr>
          <p:cNvPr id="426" name="Text Placeholder 2">
            <a:extLst>
              <a:ext uri="{FF2B5EF4-FFF2-40B4-BE49-F238E27FC236}">
                <a16:creationId xmlns:a16="http://schemas.microsoft.com/office/drawing/2014/main" id="{5DC693EB-AD1C-3720-45AF-5762232958FE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4978400" y="3051176"/>
            <a:ext cx="109061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7938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046F25A-89FD-4095-ACCB-73FFC35AABE6}" type="datetime'''''''''''P''''a''k''i''''''''s''''''''''''''''t''''a''n'''">
              <a:rPr lang="en-US" altLang="en-US" sz="1400" smtClean="0">
                <a:cs typeface="+mn-cs"/>
              </a:rPr>
              <a:pPr/>
              <a:t>Pakistan</a:t>
            </a:fld>
            <a:endParaRPr lang="en-US" sz="1400" dirty="0">
              <a:cs typeface="+mn-cs"/>
            </a:endParaRPr>
          </a:p>
        </p:txBody>
      </p:sp>
      <p:sp>
        <p:nvSpPr>
          <p:cNvPr id="427" name="Text Placeholder 2">
            <a:extLst>
              <a:ext uri="{FF2B5EF4-FFF2-40B4-BE49-F238E27FC236}">
                <a16:creationId xmlns:a16="http://schemas.microsoft.com/office/drawing/2014/main" id="{789220E7-FA77-DE49-A613-6620F8812FA8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4978400" y="3638550"/>
            <a:ext cx="1090613" cy="585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7938" tIns="0" rIns="0" bIns="11588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CD6141B-E190-497C-90A6-6E57B146F4ED}" type="datetime'''Sa''o'' T''om''e and'''''' ''''Pr''i''''n''c''ip''e'">
              <a:rPr lang="en-US" altLang="en-US" sz="1400" smtClean="0">
                <a:cs typeface="+mn-cs"/>
              </a:rPr>
              <a:pPr/>
              <a:t>Sao Tome and Principe</a:t>
            </a:fld>
            <a:endParaRPr lang="en-US" sz="1400" dirty="0">
              <a:cs typeface="+mn-cs"/>
            </a:endParaRPr>
          </a:p>
        </p:txBody>
      </p:sp>
      <p:sp>
        <p:nvSpPr>
          <p:cNvPr id="428" name="Text Placeholder 2">
            <a:extLst>
              <a:ext uri="{FF2B5EF4-FFF2-40B4-BE49-F238E27FC236}">
                <a16:creationId xmlns:a16="http://schemas.microsoft.com/office/drawing/2014/main" id="{AF03A941-60E0-3189-6F19-925A4940BDD8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4978400" y="4224338"/>
            <a:ext cx="109061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7938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2006E3E-126B-48FF-AC6D-2A64BECF7388}" type="datetime'S''i''er''r''a'''''' ''''''''''Le''''o''n''''''''e'">
              <a:rPr lang="en-US" altLang="en-US" sz="1400" smtClean="0">
                <a:cs typeface="+mn-cs"/>
              </a:rPr>
              <a:pPr/>
              <a:t>Sierra Leone</a:t>
            </a:fld>
            <a:endParaRPr lang="en-US" sz="1400" dirty="0">
              <a:cs typeface="+mn-cs"/>
            </a:endParaRPr>
          </a:p>
        </p:txBody>
      </p:sp>
      <p:sp>
        <p:nvSpPr>
          <p:cNvPr id="429" name="Text Placeholder 2">
            <a:extLst>
              <a:ext uri="{FF2B5EF4-FFF2-40B4-BE49-F238E27FC236}">
                <a16:creationId xmlns:a16="http://schemas.microsoft.com/office/drawing/2014/main" id="{823588FD-ECF2-31A1-8454-F198288AD533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4978400" y="4811713"/>
            <a:ext cx="109061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7938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8EA7CB9-FE48-4B6B-B183-676F7E0A9C22}" type="datetime'''T''a''''j''i''ki''st''''''''''a''''''''''''n'''''''''">
              <a:rPr lang="en-US" altLang="en-US" sz="1400" smtClean="0">
                <a:cs typeface="+mn-cs"/>
              </a:rPr>
              <a:pPr/>
              <a:t>Tajikistan</a:t>
            </a:fld>
            <a:endParaRPr lang="en-US" sz="1400" dirty="0">
              <a:cs typeface="+mn-cs"/>
            </a:endParaRPr>
          </a:p>
        </p:txBody>
      </p:sp>
      <p:sp>
        <p:nvSpPr>
          <p:cNvPr id="431" name="Text Placeholder 2">
            <a:extLst>
              <a:ext uri="{FF2B5EF4-FFF2-40B4-BE49-F238E27FC236}">
                <a16:creationId xmlns:a16="http://schemas.microsoft.com/office/drawing/2014/main" id="{C2F6E765-10A7-76B4-AEB2-41671D69D619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6069013" y="1876425"/>
            <a:ext cx="1089025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71438" rIns="0" bIns="28098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8E52802-FB7E-43FC-805B-535AE4F390A3}" type="datetime'A''''''''fg''h''a''''''n''''i''''''st''''''''''''an'''''''''">
              <a:rPr lang="en-US" altLang="en-US" sz="1400" smtClean="0">
                <a:cs typeface="+mn-cs"/>
              </a:rPr>
              <a:pPr/>
              <a:t>Afghanistan</a:t>
            </a:fld>
            <a:endParaRPr lang="en-US" sz="1400" dirty="0">
              <a:cs typeface="+mn-cs"/>
            </a:endParaRPr>
          </a:p>
        </p:txBody>
      </p:sp>
      <p:sp>
        <p:nvSpPr>
          <p:cNvPr id="432" name="Text Placeholder 2">
            <a:extLst>
              <a:ext uri="{FF2B5EF4-FFF2-40B4-BE49-F238E27FC236}">
                <a16:creationId xmlns:a16="http://schemas.microsoft.com/office/drawing/2014/main" id="{F0F36D9B-AE53-C7D2-76D2-717AEBA64213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6069013" y="2463800"/>
            <a:ext cx="1089025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15875" tIns="0" rIns="0" bIns="11747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916DB70-3B46-464D-B2C1-1101196426E4}" type="datetime'''''''G''''''''''u''i''''''''nea-B''''i''''''''''ss''''a''u'">
              <a:rPr lang="en-US" altLang="en-US" sz="1400" smtClean="0">
                <a:cs typeface="+mn-cs"/>
              </a:rPr>
              <a:pPr/>
              <a:t>Guinea-Bissau</a:t>
            </a:fld>
            <a:endParaRPr lang="en-US" sz="1400" dirty="0">
              <a:cs typeface="+mn-cs"/>
            </a:endParaRPr>
          </a:p>
        </p:txBody>
      </p:sp>
      <p:sp>
        <p:nvSpPr>
          <p:cNvPr id="433" name="Text Placeholder 2">
            <a:extLst>
              <a:ext uri="{FF2B5EF4-FFF2-40B4-BE49-F238E27FC236}">
                <a16:creationId xmlns:a16="http://schemas.microsoft.com/office/drawing/2014/main" id="{5829A25B-2A27-31C8-8E97-4B8ACB0D9CFE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6069013" y="3051176"/>
            <a:ext cx="1089025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CEF730A-F7A0-4694-B3F8-7F0BCCC09B3B}" type="datetime'''''''''''''''''''''''''''''L''''''a''o''''''s'''''' PDR'''">
              <a:rPr lang="en-US" altLang="en-US" sz="1400" smtClean="0">
                <a:cs typeface="+mn-cs"/>
              </a:rPr>
              <a:pPr/>
              <a:t>Laos PDR</a:t>
            </a:fld>
            <a:endParaRPr lang="en-US" sz="1400" dirty="0">
              <a:cs typeface="+mn-cs"/>
            </a:endParaRPr>
          </a:p>
        </p:txBody>
      </p:sp>
      <p:sp>
        <p:nvSpPr>
          <p:cNvPr id="434" name="Text Placeholder 2">
            <a:extLst>
              <a:ext uri="{FF2B5EF4-FFF2-40B4-BE49-F238E27FC236}">
                <a16:creationId xmlns:a16="http://schemas.microsoft.com/office/drawing/2014/main" id="{0CF15DAD-0275-C784-9A0B-7087F9311B39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6069013" y="3638550"/>
            <a:ext cx="1089025" cy="585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0" bIns="35083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3B1BAA1-7FA5-4889-A891-2E8C38329195}" type="datetime'S''''''''''''''''''''u''d''''''''''a''''''''''n'">
              <a:rPr lang="en-US" altLang="en-US" sz="1400" smtClean="0">
                <a:cs typeface="+mn-cs"/>
              </a:rPr>
              <a:pPr/>
              <a:t>Sudan</a:t>
            </a:fld>
            <a:endParaRPr lang="en-US" sz="1400" dirty="0">
              <a:cs typeface="+mn-cs"/>
            </a:endParaRPr>
          </a:p>
        </p:txBody>
      </p:sp>
      <p:sp>
        <p:nvSpPr>
          <p:cNvPr id="435" name="Text Placeholder 2">
            <a:extLst>
              <a:ext uri="{FF2B5EF4-FFF2-40B4-BE49-F238E27FC236}">
                <a16:creationId xmlns:a16="http://schemas.microsoft.com/office/drawing/2014/main" id="{7C1EF874-3ECF-DBA0-058E-BF9518DFA7F4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6069013" y="4224338"/>
            <a:ext cx="1089025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A3F29CD-42D6-4959-B071-B1F952DB78E8}" type="datetime'Z''''''''a''''''''''''''''''m''''''''''''''''''''''b''ia'''''">
              <a:rPr lang="en-US" altLang="en-US" sz="1400" smtClean="0">
                <a:cs typeface="+mn-cs"/>
              </a:rPr>
              <a:pPr/>
              <a:t>Zambia</a:t>
            </a:fld>
            <a:endParaRPr lang="en-US" sz="1400" dirty="0">
              <a:cs typeface="+mn-cs"/>
            </a:endParaRPr>
          </a:p>
        </p:txBody>
      </p:sp>
      <p:sp>
        <p:nvSpPr>
          <p:cNvPr id="437" name="Text Placeholder 2">
            <a:extLst>
              <a:ext uri="{FF2B5EF4-FFF2-40B4-BE49-F238E27FC236}">
                <a16:creationId xmlns:a16="http://schemas.microsoft.com/office/drawing/2014/main" id="{C8E80213-A693-0BC2-8D96-1B5337F7D517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7158038" y="1876425"/>
            <a:ext cx="109061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71438" rIns="0" bIns="28098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A54524A-8650-402C-8D46-31AEBEA545FE}" type="datetime'''''''C''o''''''''''''''''''''''''''mor''o''''s'">
              <a:rPr lang="en-US" altLang="en-US" sz="1400" smtClean="0">
                <a:cs typeface="+mn-cs"/>
              </a:rPr>
              <a:pPr/>
              <a:t>Comoros</a:t>
            </a:fld>
            <a:endParaRPr lang="en-US" sz="1400" dirty="0">
              <a:cs typeface="+mn-cs"/>
            </a:endParaRPr>
          </a:p>
        </p:txBody>
      </p:sp>
      <p:sp>
        <p:nvSpPr>
          <p:cNvPr id="438" name="Text Placeholder 2">
            <a:extLst>
              <a:ext uri="{FF2B5EF4-FFF2-40B4-BE49-F238E27FC236}">
                <a16:creationId xmlns:a16="http://schemas.microsoft.com/office/drawing/2014/main" id="{1EB85ED6-0C22-9BDE-3600-8DE130F6DE45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158038" y="2463800"/>
            <a:ext cx="109061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4A69B28-D211-4F3F-89DE-3B476D423639}" type="datetime'''''''D''''ji''b''''''o''''''''''''ut''''''''i'''''''''''">
              <a:rPr lang="en-US" altLang="en-US" sz="1400" smtClean="0">
                <a:cs typeface="+mn-cs"/>
              </a:rPr>
              <a:pPr/>
              <a:t>Djibouti</a:t>
            </a:fld>
            <a:endParaRPr lang="en-US" sz="1400" dirty="0">
              <a:cs typeface="+mn-cs"/>
            </a:endParaRPr>
          </a:p>
        </p:txBody>
      </p:sp>
      <p:sp>
        <p:nvSpPr>
          <p:cNvPr id="439" name="Text Placeholder 2">
            <a:extLst>
              <a:ext uri="{FF2B5EF4-FFF2-40B4-BE49-F238E27FC236}">
                <a16:creationId xmlns:a16="http://schemas.microsoft.com/office/drawing/2014/main" id="{27D2F6B2-0D03-8169-37C4-E2E926113B1B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7158038" y="3051176"/>
            <a:ext cx="109061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D3DDA1F-88FA-4A16-B354-3246A8E65D04}" type="datetime'''H''''a''i''''''''''''''''''''''''''t''''''''''i'">
              <a:rPr lang="en-US" altLang="en-US" sz="1400" smtClean="0">
                <a:cs typeface="+mn-cs"/>
              </a:rPr>
              <a:pPr/>
              <a:t>Haiti</a:t>
            </a:fld>
            <a:endParaRPr lang="en-US" sz="1400" dirty="0">
              <a:cs typeface="+mn-cs"/>
            </a:endParaRPr>
          </a:p>
        </p:txBody>
      </p:sp>
      <p:sp>
        <p:nvSpPr>
          <p:cNvPr id="440" name="Text Placeholder 2">
            <a:extLst>
              <a:ext uri="{FF2B5EF4-FFF2-40B4-BE49-F238E27FC236}">
                <a16:creationId xmlns:a16="http://schemas.microsoft.com/office/drawing/2014/main" id="{FD20ED03-CF57-0895-70AF-D43E666557EC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7158038" y="3638550"/>
            <a:ext cx="1090613" cy="585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35083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71E62B2-C9CE-419A-AC5E-7994271EBFAD}" type="datetime'''K''''''''''yrg''''''''''''''y''z''''s''ta''''''''n'">
              <a:rPr lang="en-US" altLang="en-US" sz="1400" smtClean="0">
                <a:cs typeface="+mn-cs"/>
              </a:rPr>
              <a:pPr/>
              <a:t>Kyrgyzstan</a:t>
            </a:fld>
            <a:endParaRPr lang="en-US" sz="1400" dirty="0">
              <a:cs typeface="+mn-cs"/>
            </a:endParaRPr>
          </a:p>
        </p:txBody>
      </p:sp>
      <p:sp>
        <p:nvSpPr>
          <p:cNvPr id="443" name="Text Placeholder 2">
            <a:extLst>
              <a:ext uri="{FF2B5EF4-FFF2-40B4-BE49-F238E27FC236}">
                <a16:creationId xmlns:a16="http://schemas.microsoft.com/office/drawing/2014/main" id="{6B0148BF-CCB6-2F99-8F35-EA90279AA104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8248650" y="1876425"/>
            <a:ext cx="109061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71438" rIns="0" bIns="28098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1565B16-83B6-4F57-A1D2-1B422DF3A6C2}" type="datetime'''''E''''''''''''thi''''''''''''''o''''''''pi''''a'">
              <a:rPr lang="en-US" altLang="en-US" sz="1400" smtClean="0">
                <a:cs typeface="+mn-cs"/>
              </a:rPr>
              <a:pPr/>
              <a:t>Ethiopia</a:t>
            </a:fld>
            <a:endParaRPr lang="en-US" sz="1400" dirty="0">
              <a:cs typeface="+mn-cs"/>
            </a:endParaRPr>
          </a:p>
        </p:txBody>
      </p:sp>
      <p:sp>
        <p:nvSpPr>
          <p:cNvPr id="444" name="Text Placeholder 2">
            <a:extLst>
              <a:ext uri="{FF2B5EF4-FFF2-40B4-BE49-F238E27FC236}">
                <a16:creationId xmlns:a16="http://schemas.microsoft.com/office/drawing/2014/main" id="{B757525F-DCC7-37F0-F829-2CC5D3DD5EF6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8248650" y="2463800"/>
            <a:ext cx="109061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C255A3E-1569-40B2-9452-F3D9AFFF3CBA}" type="datetime'''''''S''''''''''o''''''m''''''''''''a''''''''li''a'">
              <a:rPr lang="en-US" altLang="en-US" sz="1400" smtClean="0">
                <a:cs typeface="+mn-cs"/>
              </a:rPr>
              <a:pPr/>
              <a:t>Somalia</a:t>
            </a:fld>
            <a:endParaRPr lang="en-US" sz="1400" dirty="0">
              <a:cs typeface="+mn-cs"/>
            </a:endParaRPr>
          </a:p>
        </p:txBody>
      </p:sp>
      <p:sp>
        <p:nvSpPr>
          <p:cNvPr id="445" name="Text Placeholder 2">
            <a:extLst>
              <a:ext uri="{FF2B5EF4-FFF2-40B4-BE49-F238E27FC236}">
                <a16:creationId xmlns:a16="http://schemas.microsoft.com/office/drawing/2014/main" id="{5A95B529-C6F8-2E32-B266-A74351445A2B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248650" y="3051176"/>
            <a:ext cx="109061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EDDD4DF-4851-4A57-BF52-0519734251E4}" type="datetime'''''''''S''''ou''''''''''''th'''''' Suda''''n'''''''''">
              <a:rPr lang="en-US" altLang="en-US" sz="1400" smtClean="0">
                <a:cs typeface="+mn-cs"/>
              </a:rPr>
              <a:pPr/>
              <a:t>South Sudan</a:t>
            </a:fld>
            <a:endParaRPr lang="en-US" sz="1400" dirty="0">
              <a:cs typeface="+mn-cs"/>
            </a:endParaRPr>
          </a:p>
        </p:txBody>
      </p:sp>
      <p:sp>
        <p:nvSpPr>
          <p:cNvPr id="446" name="Text Placeholder 2">
            <a:extLst>
              <a:ext uri="{FF2B5EF4-FFF2-40B4-BE49-F238E27FC236}">
                <a16:creationId xmlns:a16="http://schemas.microsoft.com/office/drawing/2014/main" id="{B5DDE439-9204-118B-C47D-4CB43963474E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8248650" y="3638550"/>
            <a:ext cx="1090613" cy="585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11588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9D34451-7E52-4D18-940E-FEDD94F9531D}" type="datetime'''''S''''''y''''r''''ia''''''''n ''A''ra''''b'' ''Rep''ublic'">
              <a:rPr lang="en-US" altLang="en-US" sz="1400" smtClean="0">
                <a:cs typeface="+mn-cs"/>
              </a:rPr>
              <a:pPr/>
              <a:t>Syrian Arab Republic</a:t>
            </a:fld>
            <a:endParaRPr lang="en-US" sz="1400" dirty="0">
              <a:cs typeface="+mn-cs"/>
            </a:endParaRPr>
          </a:p>
        </p:txBody>
      </p:sp>
      <p:sp>
        <p:nvSpPr>
          <p:cNvPr id="448" name="Text Placeholder 2">
            <a:extLst>
              <a:ext uri="{FF2B5EF4-FFF2-40B4-BE49-F238E27FC236}">
                <a16:creationId xmlns:a16="http://schemas.microsoft.com/office/drawing/2014/main" id="{82132379-4C27-1DBF-9B0A-1C2BF764DE72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9339263" y="1876425"/>
            <a:ext cx="1089025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71438" rIns="0" bIns="28098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7CDA245-FD4F-444C-8B2D-AF1A33D8712F}" type="datetime'''''''''''''''''''''G''''''''''a''''''''m''''b''ia'">
              <a:rPr lang="en-US" altLang="en-US" sz="1400" smtClean="0">
                <a:cs typeface="+mn-cs"/>
              </a:rPr>
              <a:pPr/>
              <a:t>Gambia</a:t>
            </a:fld>
            <a:endParaRPr lang="en-US" sz="1400" dirty="0">
              <a:cs typeface="+mn-cs"/>
            </a:endParaRPr>
          </a:p>
        </p:txBody>
      </p:sp>
      <p:sp>
        <p:nvSpPr>
          <p:cNvPr id="449" name="Text Placeholder 2">
            <a:extLst>
              <a:ext uri="{FF2B5EF4-FFF2-40B4-BE49-F238E27FC236}">
                <a16:creationId xmlns:a16="http://schemas.microsoft.com/office/drawing/2014/main" id="{586FF872-E81B-E878-55DE-06DDCF801B2E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9339263" y="2463800"/>
            <a:ext cx="1089025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6438D51-68D9-4EE8-BD2C-00DFE5C4F7B6}" type="datetime'''''M''aur''''''''''''i''t''a''''n''i''a'''''''''''''''''">
              <a:rPr lang="en-US" altLang="en-US" sz="1400" smtClean="0">
                <a:cs typeface="+mn-cs"/>
              </a:rPr>
              <a:pPr/>
              <a:t>Mauritania</a:t>
            </a:fld>
            <a:endParaRPr lang="en-US" sz="1400" dirty="0">
              <a:cs typeface="+mn-cs"/>
            </a:endParaRPr>
          </a:p>
        </p:txBody>
      </p:sp>
      <p:sp>
        <p:nvSpPr>
          <p:cNvPr id="450" name="Text Placeholder 2">
            <a:extLst>
              <a:ext uri="{FF2B5EF4-FFF2-40B4-BE49-F238E27FC236}">
                <a16:creationId xmlns:a16="http://schemas.microsoft.com/office/drawing/2014/main" id="{BF7E16F5-273E-B606-D4E6-3F09CE941555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9339263" y="3051176"/>
            <a:ext cx="1089025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7D5DA94-718A-4141-A9EE-83062248A8F5}" type="datetime'''''''''''''''T''''''''''''''''''og''''''''o'">
              <a:rPr lang="en-US" altLang="en-US" sz="1400" smtClean="0">
                <a:cs typeface="+mn-cs"/>
              </a:rPr>
              <a:pPr/>
              <a:t>Togo</a:t>
            </a:fld>
            <a:endParaRPr lang="en-US" sz="1400" dirty="0">
              <a:cs typeface="+mn-cs"/>
            </a:endParaRPr>
          </a:p>
        </p:txBody>
      </p:sp>
      <p:sp>
        <p:nvSpPr>
          <p:cNvPr id="451" name="Text Placeholder 2">
            <a:extLst>
              <a:ext uri="{FF2B5EF4-FFF2-40B4-BE49-F238E27FC236}">
                <a16:creationId xmlns:a16="http://schemas.microsoft.com/office/drawing/2014/main" id="{C8CC0162-F5B8-0F1E-39AC-28AA4A0AEFD5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9339263" y="3638550"/>
            <a:ext cx="1089025" cy="585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0" bIns="35083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0F5F0C5-68BD-41AB-959A-35D00355FFED}" type="datetime'''''''Y''''''''''''''''''''''em''''''''''''''''''e''''n'">
              <a:rPr lang="en-US" altLang="en-US" sz="1400" smtClean="0">
                <a:cs typeface="+mn-cs"/>
              </a:rPr>
              <a:pPr/>
              <a:t>Yemen</a:t>
            </a:fld>
            <a:endParaRPr lang="en-US" sz="1400" dirty="0">
              <a:cs typeface="+mn-cs"/>
            </a:endParaRPr>
          </a:p>
        </p:txBody>
      </p:sp>
      <p:sp>
        <p:nvSpPr>
          <p:cNvPr id="453" name="Text Placeholder 2">
            <a:extLst>
              <a:ext uri="{FF2B5EF4-FFF2-40B4-BE49-F238E27FC236}">
                <a16:creationId xmlns:a16="http://schemas.microsoft.com/office/drawing/2014/main" id="{54398957-3465-349F-C313-FDE60294BA03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10428288" y="1876425"/>
            <a:ext cx="109061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71438" rIns="0" bIns="28098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356304C-C2A9-47C1-B54C-41DC58E1DAF7}" type="datetime'K''''''''''o''r''''''''''''''''''ea'' ''''''''PD''''R'''">
              <a:rPr lang="en-US" altLang="en-US" sz="1400" smtClean="0">
                <a:cs typeface="+mn-cs"/>
              </a:rPr>
              <a:pPr/>
              <a:t>Korea PDR</a:t>
            </a:fld>
            <a:endParaRPr lang="en-US" sz="1400" dirty="0">
              <a:cs typeface="+mn-cs"/>
            </a:endParaRPr>
          </a:p>
        </p:txBody>
      </p:sp>
      <p:sp>
        <p:nvSpPr>
          <p:cNvPr id="454" name="Text Placeholder 2">
            <a:extLst>
              <a:ext uri="{FF2B5EF4-FFF2-40B4-BE49-F238E27FC236}">
                <a16:creationId xmlns:a16="http://schemas.microsoft.com/office/drawing/2014/main" id="{85953CE1-37F2-8E95-716A-F7F88184493F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10428288" y="2463800"/>
            <a:ext cx="109061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B75869B-3E07-4385-8B53-B45AA3168154}" type="datetime'''G''''''''''''''''''''''''u''''''''''''in''''e''a'''''''''''">
              <a:rPr lang="en-US" altLang="en-US" sz="1400" smtClean="0">
                <a:cs typeface="+mn-cs"/>
              </a:rPr>
              <a:pPr/>
              <a:t>Guinea</a:t>
            </a:fld>
            <a:endParaRPr lang="en-US" sz="1400" dirty="0">
              <a:cs typeface="+mn-cs"/>
            </a:endParaRPr>
          </a:p>
        </p:txBody>
      </p:sp>
      <p:sp>
        <p:nvSpPr>
          <p:cNvPr id="455" name="Text Placeholder 2">
            <a:extLst>
              <a:ext uri="{FF2B5EF4-FFF2-40B4-BE49-F238E27FC236}">
                <a16:creationId xmlns:a16="http://schemas.microsoft.com/office/drawing/2014/main" id="{FDFD09B7-4603-77C6-2E23-FE9F33EE56F1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10428288" y="3051176"/>
            <a:ext cx="1090613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352425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3BEE763-C92D-4F8E-B32E-0D184F26EB37}" type="datetime'''''''L''e''''''''''''so''''''''''t''''''h''''o'''''''">
              <a:rPr lang="en-US" altLang="en-US" sz="1400" smtClean="0">
                <a:cs typeface="+mn-cs"/>
              </a:rPr>
              <a:pPr/>
              <a:t>Lesotho</a:t>
            </a:fld>
            <a:endParaRPr lang="en-US" sz="1400" dirty="0">
              <a:cs typeface="+mn-cs"/>
            </a:endParaRPr>
          </a:p>
        </p:txBody>
      </p:sp>
      <p:sp>
        <p:nvSpPr>
          <p:cNvPr id="456" name="Text Placeholder 2">
            <a:extLst>
              <a:ext uri="{FF2B5EF4-FFF2-40B4-BE49-F238E27FC236}">
                <a16:creationId xmlns:a16="http://schemas.microsoft.com/office/drawing/2014/main" id="{76040A31-0B4F-F6F9-91A7-BCF3C7DDC51C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10428288" y="3638550"/>
            <a:ext cx="1090613" cy="585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350838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B3BB9CE-2A90-4070-B491-C652BD12E052}" type="datetime'''''''M''''''ya''n''''''''''m''''''''''''''''''''''''''a''r'">
              <a:rPr lang="en-US" altLang="en-US" sz="1400" smtClean="0">
                <a:cs typeface="+mn-cs"/>
              </a:rPr>
              <a:pPr/>
              <a:t>Myanmar</a:t>
            </a:fld>
            <a:endParaRPr lang="en-US" sz="1400" dirty="0">
              <a:cs typeface="+mn-cs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553548F-B5DE-5FFC-F8C1-F0DD64F3293E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522288" y="5692775"/>
            <a:ext cx="1090613" cy="293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41275" tIns="58738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003138E-9000-43AF-BED7-922CF07FD60A}" type="datetime'7'''''''''''''''''">
              <a:rPr lang="en-US" altLang="en-US" sz="1400" b="1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 sz="1400" b="1" dirty="0">
              <a:cs typeface="+mn-cs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46932BD-4015-73D6-9D7B-66C8EC5C3507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1612900" y="5692775"/>
            <a:ext cx="1185863" cy="293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58738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36A4F7D-C4EC-45EB-A9D3-D93FB65FCF15}" type="datetime'''''''''''''''''''''''''''''''6'''''''''''''">
              <a:rPr lang="en-US" altLang="en-US" sz="1400" b="1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 sz="1400" b="1" dirty="0">
              <a:cs typeface="+mn-cs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AE8931CE-EAB4-F353-572D-82CE287F0DA6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2798763" y="5692775"/>
            <a:ext cx="1089025" cy="293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69850" tIns="58738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32C0DDD-275B-4D18-8F74-963BD2D2113F}" type="datetime'''''''''''6'''''''''''''">
              <a:rPr lang="en-US" altLang="en-US" sz="1400" b="1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 sz="1400" b="1" dirty="0"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80ECE34-B877-6B3C-8FAD-5FAF88D67234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3887788" y="5692775"/>
            <a:ext cx="1090613" cy="293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58738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4C1BF22-837E-47F6-8CB0-A3AC757FAF6B}" type="datetime'''''''''''''''''''''''''''6'''''''''''''''''''''''''''''''''">
              <a:rPr lang="en-US" altLang="en-US" sz="1400" b="1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 sz="1400" b="1" dirty="0">
              <a:cs typeface="+mn-cs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F71FEDC-6692-85C4-B9C7-9587B532477C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4978400" y="5692775"/>
            <a:ext cx="1090613" cy="293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7938" tIns="58738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535AA39-CA9C-47F2-BF03-539A3C1FE1B5}" type="datetime'''''''''''''''6'''">
              <a:rPr lang="en-US" altLang="en-US" sz="1400" b="1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 sz="1400" b="1" dirty="0">
              <a:cs typeface="+mn-cs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D8269FD-616E-4F14-5404-736DC72C3046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6069013" y="5692775"/>
            <a:ext cx="1089025" cy="293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58738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136CFEE-817D-48F4-9854-0E260682BAC6}" type="datetime'''''''''5'''''''''''''''''''''''''''''''''''''''''">
              <a:rPr lang="en-US" altLang="en-US" sz="1400" b="1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sz="1400" b="1" dirty="0">
              <a:cs typeface="+mn-cs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EB364EC3-EFA9-2173-B38B-4E572A37FF10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7158038" y="5692775"/>
            <a:ext cx="1090613" cy="293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58738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607AC4D-C7C9-49BA-BAB7-DA039C12910B}" type="datetime'''''''''''''''''''''4'''''''''''''''''''''''''''">
              <a:rPr lang="en-US" altLang="en-US" sz="1400" b="1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sz="1400" b="1" dirty="0">
              <a:cs typeface="+mn-cs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4DF4C143-9186-2AB2-A5EC-EBB40DB0DE8F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8248650" y="5692775"/>
            <a:ext cx="1090613" cy="293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58738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205D584-6008-4C02-A7D0-13324E783834}" type="datetime'''''''''''''''''''''''''''''4'''''''''''''''''''''''''''''''''">
              <a:rPr lang="en-US" altLang="en-US" sz="1400" b="1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sz="1400" b="1" dirty="0">
              <a:cs typeface="+mn-cs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7FBE8119-A996-1A6A-723E-9589E4591E26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9339263" y="5692775"/>
            <a:ext cx="1089025" cy="293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58738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C9F56D3-B342-4D81-BE4D-BB0C96AADF7D}" type="datetime'''''''''''''''''''''''''4'''''">
              <a:rPr lang="en-US" altLang="en-US" sz="1400" b="1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sz="1400" b="1" dirty="0">
              <a:cs typeface="+mn-cs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2B7BDC33-43A1-700B-0B40-1BBFF5C22EFF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10428288" y="5692775"/>
            <a:ext cx="1090613" cy="293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58738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37F5B60-371D-494F-A265-3119AD5960F7}" type="datetime'''''''''''4'''''''''''''">
              <a:rPr lang="en-US" altLang="en-US" sz="1400" b="1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sz="1400" b="1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1702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73E2BC97-590B-2317-6A87-CA9A4CAA20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2036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353" imgH="353" progId="TCLayout.ActiveDocument.1">
                  <p:embed/>
                </p:oleObj>
              </mc:Choice>
              <mc:Fallback>
                <p:oleObj name="think-cell Slide" r:id="rId55" imgW="353" imgH="35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E2BC97-590B-2317-6A87-CA9A4CAA20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5D9FC5E-FB6F-E140-DDE3-66FF9178FD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List of 52 GAVI eligible countries where rabies is endemi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6F918F-9C24-1F53-1A93-483BA7874F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12779C-4930-8695-5C5D-BC9B0F635B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Country introduction assumed 1 year after application</a:t>
            </a:r>
          </a:p>
        </p:txBody>
      </p:sp>
      <p:sp>
        <p:nvSpPr>
          <p:cNvPr id="16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22288" y="1289050"/>
            <a:ext cx="2376488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07728EB-B270-4416-AA98-7F51B3B00079}" type="datetime'A''f''''''''g''''''''ha''ni''''''''st''''''''a''''''n''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Afghanistan</a:t>
            </a:fld>
            <a:endParaRPr lang="en-US" sz="1400" dirty="0">
              <a:cs typeface="+mn-cs"/>
            </a:endParaRPr>
          </a:p>
        </p:txBody>
      </p:sp>
      <p:sp>
        <p:nvSpPr>
          <p:cNvPr id="480" name="Text Placeholder 2">
            <a:extLst>
              <a:ext uri="{FF2B5EF4-FFF2-40B4-BE49-F238E27FC236}">
                <a16:creationId xmlns:a16="http://schemas.microsoft.com/office/drawing/2014/main" id="{263DB367-BD3F-A816-EDAE-572CE16EB10F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22288" y="1758950"/>
            <a:ext cx="2376488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563DBB3-1091-4562-B854-6B2DBD826539}" type="datetime'B''''''''a''''''''''n''''gl''''''a''''d''''''''''es''''''''h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Bangladesh</a:t>
            </a:fld>
            <a:endParaRPr lang="en-US" sz="1400" dirty="0">
              <a:cs typeface="+mn-cs"/>
            </a:endParaRPr>
          </a:p>
        </p:txBody>
      </p:sp>
      <p:sp>
        <p:nvSpPr>
          <p:cNvPr id="481" name="Text Placeholder 2">
            <a:extLst>
              <a:ext uri="{FF2B5EF4-FFF2-40B4-BE49-F238E27FC236}">
                <a16:creationId xmlns:a16="http://schemas.microsoft.com/office/drawing/2014/main" id="{9890CAD0-C1B8-CBAC-8480-B4E67AD7E84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22288" y="2228849"/>
            <a:ext cx="2376488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37BF4D1-A0EC-4EE1-8FAF-F5D76960EEB5}" type="datetime'''''''B''en''''''''''''''i''''''''''''''''''n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Benin</a:t>
            </a:fld>
            <a:endParaRPr lang="en-US" sz="1400" dirty="0">
              <a:cs typeface="+mn-cs"/>
            </a:endParaRPr>
          </a:p>
        </p:txBody>
      </p:sp>
      <p:sp>
        <p:nvSpPr>
          <p:cNvPr id="482" name="Text Placeholder 2">
            <a:extLst>
              <a:ext uri="{FF2B5EF4-FFF2-40B4-BE49-F238E27FC236}">
                <a16:creationId xmlns:a16="http://schemas.microsoft.com/office/drawing/2014/main" id="{068BB0A9-2A18-3A8F-13A7-2AFDF88A47C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22288" y="2698749"/>
            <a:ext cx="2376488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964CBA3-08EE-468B-A471-CDD774FE8B4B}" type="datetime'''''''B''''u''r''''k''''i''''''na'''''''' ''''Faso''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Burkina Faso</a:t>
            </a:fld>
            <a:endParaRPr lang="en-US" sz="1400" dirty="0">
              <a:cs typeface="+mn-cs"/>
            </a:endParaRPr>
          </a:p>
        </p:txBody>
      </p:sp>
      <p:sp>
        <p:nvSpPr>
          <p:cNvPr id="483" name="Text Placeholder 2">
            <a:extLst>
              <a:ext uri="{FF2B5EF4-FFF2-40B4-BE49-F238E27FC236}">
                <a16:creationId xmlns:a16="http://schemas.microsoft.com/office/drawing/2014/main" id="{970F4422-7E10-8905-7FCE-123AD2F9093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22288" y="3168649"/>
            <a:ext cx="2376488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7E89C4A-4CB9-4BC0-A2AA-BFFEB674EFAF}" type="datetime'''''''''''''''''''B''u''''''''r''''u''n''''d''''''''''i''''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Burundi</a:t>
            </a:fld>
            <a:endParaRPr lang="en-US" sz="1400" dirty="0">
              <a:cs typeface="+mn-cs"/>
            </a:endParaRPr>
          </a:p>
        </p:txBody>
      </p:sp>
      <p:sp>
        <p:nvSpPr>
          <p:cNvPr id="484" name="Text Placeholder 2">
            <a:extLst>
              <a:ext uri="{FF2B5EF4-FFF2-40B4-BE49-F238E27FC236}">
                <a16:creationId xmlns:a16="http://schemas.microsoft.com/office/drawing/2014/main" id="{682955B7-33AC-122D-80D4-D0985C066AD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22288" y="3638550"/>
            <a:ext cx="2376488" cy="468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3363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B9FAB34-7ABF-49B9-8676-50C5679803BF}" type="datetime'''''''C''''''''''amb''''''''''''''''''''''''o''d''''''i''a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Cambodia</a:t>
            </a:fld>
            <a:endParaRPr lang="en-US" sz="1400" dirty="0">
              <a:cs typeface="+mn-cs"/>
            </a:endParaRPr>
          </a:p>
        </p:txBody>
      </p:sp>
      <p:sp>
        <p:nvSpPr>
          <p:cNvPr id="485" name="Text Placeholder 2">
            <a:extLst>
              <a:ext uri="{FF2B5EF4-FFF2-40B4-BE49-F238E27FC236}">
                <a16:creationId xmlns:a16="http://schemas.microsoft.com/office/drawing/2014/main" id="{284C9810-BF13-3471-D273-382C4A33886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22288" y="4106862"/>
            <a:ext cx="2376488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9DC282D-0230-4CC3-BA6D-C7C26B0F48F9}" type="datetime'''''''C''''''''a''m''''''''e''''ro''''''''''''o''''n''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Cameroon</a:t>
            </a:fld>
            <a:endParaRPr lang="en-US" sz="1400" dirty="0">
              <a:cs typeface="+mn-cs"/>
            </a:endParaRPr>
          </a:p>
        </p:txBody>
      </p:sp>
      <p:sp>
        <p:nvSpPr>
          <p:cNvPr id="486" name="Text Placeholder 2">
            <a:extLst>
              <a:ext uri="{FF2B5EF4-FFF2-40B4-BE49-F238E27FC236}">
                <a16:creationId xmlns:a16="http://schemas.microsoft.com/office/drawing/2014/main" id="{7BFA6A82-3533-63EA-60ED-1D5C173279C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22288" y="4576762"/>
            <a:ext cx="2376488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EAD3A8B-206A-410E-9189-44876F23E33B}" type="datetime'Central ''Afri''can ''''R''''''e''''''''''pu''''''b''lic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Central African Republic</a:t>
            </a:fld>
            <a:endParaRPr lang="en-US" sz="1400" dirty="0">
              <a:cs typeface="+mn-cs"/>
            </a:endParaRPr>
          </a:p>
        </p:txBody>
      </p:sp>
      <p:sp>
        <p:nvSpPr>
          <p:cNvPr id="487" name="Text Placeholder 2">
            <a:extLst>
              <a:ext uri="{FF2B5EF4-FFF2-40B4-BE49-F238E27FC236}">
                <a16:creationId xmlns:a16="http://schemas.microsoft.com/office/drawing/2014/main" id="{C7D3B636-BE58-D4F0-9DE1-0E77E47F2DC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22288" y="5046662"/>
            <a:ext cx="2376488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63B03E5-C785-4489-9859-F4F4F2C0A6EF}" type="datetime'''''''''''''''''C''''''ha''''''''''''''''''''''''''''d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Chad</a:t>
            </a:fld>
            <a:endParaRPr lang="en-US" sz="1400" dirty="0">
              <a:cs typeface="+mn-cs"/>
            </a:endParaRPr>
          </a:p>
        </p:txBody>
      </p:sp>
      <p:sp>
        <p:nvSpPr>
          <p:cNvPr id="488" name="Text Placeholder 2">
            <a:extLst>
              <a:ext uri="{FF2B5EF4-FFF2-40B4-BE49-F238E27FC236}">
                <a16:creationId xmlns:a16="http://schemas.microsoft.com/office/drawing/2014/main" id="{A0C51B76-C31D-11FD-CFF9-2A6B3516996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22288" y="5516562"/>
            <a:ext cx="2376488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611C1BD-5250-4A8E-93A8-8189514DE625}" type="datetime'''''C''''''''om''''''''''''''''''''o''ro''''''s''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Comoros</a:t>
            </a:fld>
            <a:endParaRPr lang="en-US" sz="1400" dirty="0">
              <a:cs typeface="+mn-cs"/>
            </a:endParaRPr>
          </a:p>
        </p:txBody>
      </p:sp>
      <p:sp>
        <p:nvSpPr>
          <p:cNvPr id="534" name="Text Placeholder 2">
            <a:extLst>
              <a:ext uri="{FF2B5EF4-FFF2-40B4-BE49-F238E27FC236}">
                <a16:creationId xmlns:a16="http://schemas.microsoft.com/office/drawing/2014/main" id="{BE1E11A7-2B16-4CD0-1F8C-62ED4096CF9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898775" y="1289050"/>
            <a:ext cx="1628775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573DA2E-C678-4804-ACB8-8AC9873345BC}" type="datetime'''''''C''o''''''''''''''n''''''''g''''o''''''''''''''''''''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Congo</a:t>
            </a:fld>
            <a:endParaRPr lang="en-US" sz="1400" dirty="0">
              <a:cs typeface="+mn-cs"/>
            </a:endParaRPr>
          </a:p>
        </p:txBody>
      </p:sp>
      <p:sp>
        <p:nvSpPr>
          <p:cNvPr id="535" name="Text Placeholder 2">
            <a:extLst>
              <a:ext uri="{FF2B5EF4-FFF2-40B4-BE49-F238E27FC236}">
                <a16:creationId xmlns:a16="http://schemas.microsoft.com/office/drawing/2014/main" id="{D5F5EA05-AE38-6723-F127-67B84A4A5FA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898775" y="1758950"/>
            <a:ext cx="1628775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C86FFFE-9A21-4E48-B1D6-8FBECE86FED2}" type="datetime'''''''''''Co''''n''''go ''''DR''C''''''''''''''''''''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Congo DRC</a:t>
            </a:fld>
            <a:endParaRPr lang="en-US" sz="1400" dirty="0">
              <a:cs typeface="+mn-cs"/>
            </a:endParaRPr>
          </a:p>
        </p:txBody>
      </p:sp>
      <p:sp>
        <p:nvSpPr>
          <p:cNvPr id="536" name="Text Placeholder 2">
            <a:extLst>
              <a:ext uri="{FF2B5EF4-FFF2-40B4-BE49-F238E27FC236}">
                <a16:creationId xmlns:a16="http://schemas.microsoft.com/office/drawing/2014/main" id="{1FFCBFF9-420E-075C-90FB-66AA8362DC7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898775" y="2228849"/>
            <a:ext cx="1628775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1A7E0C4-B0C5-4EE9-ADC1-12D6E8A0CEFD}" type="datetime'''''''Côt''e'' ''''d’''''''''''Ivoi''''''''''''''''''re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Côte d’Ivoire</a:t>
            </a:fld>
            <a:endParaRPr lang="en-US" sz="1400" dirty="0">
              <a:cs typeface="+mn-cs"/>
            </a:endParaRPr>
          </a:p>
        </p:txBody>
      </p:sp>
      <p:sp>
        <p:nvSpPr>
          <p:cNvPr id="537" name="Text Placeholder 2">
            <a:extLst>
              <a:ext uri="{FF2B5EF4-FFF2-40B4-BE49-F238E27FC236}">
                <a16:creationId xmlns:a16="http://schemas.microsoft.com/office/drawing/2014/main" id="{E7B3B8E4-8FFF-A194-5425-1D999C071F9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898775" y="2698749"/>
            <a:ext cx="1628775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F85E977-6D96-4151-98E4-50AD6A4355E8}" type="datetime'D''''j''''''''''''''''''''''i''''''b''''ou''ti''''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Djibouti</a:t>
            </a:fld>
            <a:endParaRPr lang="en-US" sz="1400" dirty="0">
              <a:cs typeface="+mn-cs"/>
            </a:endParaRPr>
          </a:p>
        </p:txBody>
      </p:sp>
      <p:sp>
        <p:nvSpPr>
          <p:cNvPr id="538" name="Text Placeholder 2">
            <a:extLst>
              <a:ext uri="{FF2B5EF4-FFF2-40B4-BE49-F238E27FC236}">
                <a16:creationId xmlns:a16="http://schemas.microsoft.com/office/drawing/2014/main" id="{5631083F-CC19-4898-89A8-6BAC663E8BB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898775" y="3168649"/>
            <a:ext cx="1628775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4F66516-89AB-4198-A645-D6AB69D87160}" type="datetime'''''E''r''''i''''t''r''''''''''''''''e''''a''''''''''''''''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Eritrea</a:t>
            </a:fld>
            <a:endParaRPr lang="en-US" sz="1400" dirty="0">
              <a:cs typeface="+mn-cs"/>
            </a:endParaRPr>
          </a:p>
        </p:txBody>
      </p:sp>
      <p:sp>
        <p:nvSpPr>
          <p:cNvPr id="539" name="Text Placeholder 2">
            <a:extLst>
              <a:ext uri="{FF2B5EF4-FFF2-40B4-BE49-F238E27FC236}">
                <a16:creationId xmlns:a16="http://schemas.microsoft.com/office/drawing/2014/main" id="{586E748D-D24E-2004-1EBB-E6175AF951E3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898775" y="3638550"/>
            <a:ext cx="1628775" cy="468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3363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640B15B-BF06-4304-995C-5178D33CA889}" type="datetime'''E''''''''th''''i''''o''''''''p''i''a''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Ethiopia</a:t>
            </a:fld>
            <a:endParaRPr lang="en-US" sz="1400" dirty="0">
              <a:cs typeface="+mn-cs"/>
            </a:endParaRPr>
          </a:p>
        </p:txBody>
      </p:sp>
      <p:sp>
        <p:nvSpPr>
          <p:cNvPr id="540" name="Text Placeholder 2">
            <a:extLst>
              <a:ext uri="{FF2B5EF4-FFF2-40B4-BE49-F238E27FC236}">
                <a16:creationId xmlns:a16="http://schemas.microsoft.com/office/drawing/2014/main" id="{A11BAB51-4474-9ABD-B536-56D55D7FC3B4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898775" y="4106862"/>
            <a:ext cx="1628775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3A87B93-77E3-4555-8081-F2A70052867F}" type="datetime'''''G''''a''m''''bi''''''''''a''''''''''''''''''''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Gambia</a:t>
            </a:fld>
            <a:endParaRPr lang="en-US" sz="1400" dirty="0">
              <a:cs typeface="+mn-cs"/>
            </a:endParaRPr>
          </a:p>
        </p:txBody>
      </p:sp>
      <p:sp>
        <p:nvSpPr>
          <p:cNvPr id="541" name="Text Placeholder 2">
            <a:extLst>
              <a:ext uri="{FF2B5EF4-FFF2-40B4-BE49-F238E27FC236}">
                <a16:creationId xmlns:a16="http://schemas.microsoft.com/office/drawing/2014/main" id="{1C52E4E5-1B9A-266C-B13B-CD738019A4E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898775" y="4576762"/>
            <a:ext cx="1628775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2DBF844-1379-4AC6-8F17-FFA1365EA3C4}" type="datetime'''''''G''''''''''''''''''h''''''''''''''ana''''''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Ghana</a:t>
            </a:fld>
            <a:endParaRPr lang="en-US" sz="1400" dirty="0">
              <a:cs typeface="+mn-cs"/>
            </a:endParaRPr>
          </a:p>
        </p:txBody>
      </p:sp>
      <p:sp>
        <p:nvSpPr>
          <p:cNvPr id="542" name="Text Placeholder 2">
            <a:extLst>
              <a:ext uri="{FF2B5EF4-FFF2-40B4-BE49-F238E27FC236}">
                <a16:creationId xmlns:a16="http://schemas.microsoft.com/office/drawing/2014/main" id="{9039F60A-B55D-A97D-8C58-EC9568BB268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898775" y="5046662"/>
            <a:ext cx="1628775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33E2D5B-62E4-465A-8347-1F26EAB59D69}" type="datetime'''''''''''''''''G''u''i''''n''''''''''''''''''''''e''''a''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Guinea</a:t>
            </a:fld>
            <a:endParaRPr lang="en-US" sz="1400" dirty="0">
              <a:cs typeface="+mn-cs"/>
            </a:endParaRPr>
          </a:p>
        </p:txBody>
      </p:sp>
      <p:sp>
        <p:nvSpPr>
          <p:cNvPr id="543" name="Text Placeholder 2">
            <a:extLst>
              <a:ext uri="{FF2B5EF4-FFF2-40B4-BE49-F238E27FC236}">
                <a16:creationId xmlns:a16="http://schemas.microsoft.com/office/drawing/2014/main" id="{451DA77B-0D7E-0BFE-F6C1-525AC699A0D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898775" y="5516562"/>
            <a:ext cx="1628775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99CC2FE-6366-4300-8C65-F4F3B4CDC095}" type="datetime'Gu''''i''n''''''e''''''''a-''Bi''''''s''sa''''u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Guinea-Bissau</a:t>
            </a:fld>
            <a:endParaRPr lang="en-US" sz="1400" dirty="0">
              <a:cs typeface="+mn-cs"/>
            </a:endParaRPr>
          </a:p>
        </p:txBody>
      </p:sp>
      <p:sp>
        <p:nvSpPr>
          <p:cNvPr id="589" name="Text Placeholder 2">
            <a:extLst>
              <a:ext uri="{FF2B5EF4-FFF2-40B4-BE49-F238E27FC236}">
                <a16:creationId xmlns:a16="http://schemas.microsoft.com/office/drawing/2014/main" id="{8282DA75-6B83-9162-EEBC-F4164E09BFD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527550" y="1289050"/>
            <a:ext cx="1438275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15A52F2-B701-42B8-9449-B280D9C16CF9}" type="datetime'''''H''''''''''''a''''i''''''''''''''''''''''t''i''''''''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Haiti</a:t>
            </a:fld>
            <a:endParaRPr lang="en-US" sz="1400" dirty="0">
              <a:cs typeface="+mn-cs"/>
            </a:endParaRPr>
          </a:p>
        </p:txBody>
      </p:sp>
      <p:sp>
        <p:nvSpPr>
          <p:cNvPr id="590" name="Text Placeholder 2">
            <a:extLst>
              <a:ext uri="{FF2B5EF4-FFF2-40B4-BE49-F238E27FC236}">
                <a16:creationId xmlns:a16="http://schemas.microsoft.com/office/drawing/2014/main" id="{E45CBFA8-B0B9-26EC-2A2B-39F26F3F5F37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527550" y="1758950"/>
            <a:ext cx="1438275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C42C5F6-891D-4670-AD2C-F22563934A8F}" type="datetime'''''''''''''''K''''''''e''''''''''''''n''''''''y''''a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Kenya</a:t>
            </a:fld>
            <a:endParaRPr lang="en-US" sz="1400" dirty="0">
              <a:cs typeface="+mn-cs"/>
            </a:endParaRPr>
          </a:p>
        </p:txBody>
      </p:sp>
      <p:sp>
        <p:nvSpPr>
          <p:cNvPr id="591" name="Text Placeholder 2">
            <a:extLst>
              <a:ext uri="{FF2B5EF4-FFF2-40B4-BE49-F238E27FC236}">
                <a16:creationId xmlns:a16="http://schemas.microsoft.com/office/drawing/2014/main" id="{D694E254-A02A-C47A-BD8C-FA1FE0CAF55B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4527550" y="2228849"/>
            <a:ext cx="1438275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EE39E33-4F04-4375-A5F3-D640BBCA5689}" type="datetime'''''''K''o''''r''''''e''''a'''''''''''''''' ''PDR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Korea PDR</a:t>
            </a:fld>
            <a:endParaRPr lang="en-US" sz="1400" dirty="0">
              <a:cs typeface="+mn-cs"/>
            </a:endParaRPr>
          </a:p>
        </p:txBody>
      </p:sp>
      <p:sp>
        <p:nvSpPr>
          <p:cNvPr id="592" name="Text Placeholder 2">
            <a:extLst>
              <a:ext uri="{FF2B5EF4-FFF2-40B4-BE49-F238E27FC236}">
                <a16:creationId xmlns:a16="http://schemas.microsoft.com/office/drawing/2014/main" id="{B5CBCF3C-C9B3-2609-648E-AB2177544D1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527550" y="2698749"/>
            <a:ext cx="1438275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15D0124-A152-44EA-8B6B-27E43F7AA56D}" type="datetime'''''''''K''''''''y''rg''''''y''''zs''''''''ta''''''''n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Kyrgyzstan</a:t>
            </a:fld>
            <a:endParaRPr lang="en-US" sz="1400" dirty="0">
              <a:cs typeface="+mn-cs"/>
            </a:endParaRPr>
          </a:p>
        </p:txBody>
      </p:sp>
      <p:sp>
        <p:nvSpPr>
          <p:cNvPr id="593" name="Text Placeholder 2">
            <a:extLst>
              <a:ext uri="{FF2B5EF4-FFF2-40B4-BE49-F238E27FC236}">
                <a16:creationId xmlns:a16="http://schemas.microsoft.com/office/drawing/2014/main" id="{B839132D-12A5-1971-093B-C3F603F420D5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527550" y="3168649"/>
            <a:ext cx="1438275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3AEC23A-A921-4E41-A98B-994A63F7E4E2}" type="datetime'''''''''''''''L''a''''''''''''''''''''os ''PD''''R''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Laos PDR</a:t>
            </a:fld>
            <a:endParaRPr lang="en-US" sz="1400" dirty="0">
              <a:cs typeface="+mn-cs"/>
            </a:endParaRPr>
          </a:p>
        </p:txBody>
      </p:sp>
      <p:sp>
        <p:nvSpPr>
          <p:cNvPr id="594" name="Text Placeholder 2">
            <a:extLst>
              <a:ext uri="{FF2B5EF4-FFF2-40B4-BE49-F238E27FC236}">
                <a16:creationId xmlns:a16="http://schemas.microsoft.com/office/drawing/2014/main" id="{26901766-085E-6928-0E41-9A286220AE1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527550" y="3638550"/>
            <a:ext cx="1438275" cy="468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3363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4D9309D-3C99-4B5F-B3AC-60192B55238C}" type="datetime'''''''''''L''e''''''s''o''''''''''''''t''''''''h''o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Lesotho</a:t>
            </a:fld>
            <a:endParaRPr lang="en-US" sz="1400" dirty="0">
              <a:cs typeface="+mn-cs"/>
            </a:endParaRPr>
          </a:p>
        </p:txBody>
      </p:sp>
      <p:sp>
        <p:nvSpPr>
          <p:cNvPr id="595" name="Text Placeholder 2">
            <a:extLst>
              <a:ext uri="{FF2B5EF4-FFF2-40B4-BE49-F238E27FC236}">
                <a16:creationId xmlns:a16="http://schemas.microsoft.com/office/drawing/2014/main" id="{9F010FE4-FD48-A2CD-7BEB-8B5683E0FB1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527550" y="4106862"/>
            <a:ext cx="1438275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BEEDC8A-6684-452A-B6BB-A6AE05E99432}" type="datetime'L''''i''b''''''''''''''''''''e''''r''''''''''i''''''a''''''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Liberia</a:t>
            </a:fld>
            <a:endParaRPr lang="en-US" sz="1400" dirty="0">
              <a:cs typeface="+mn-cs"/>
            </a:endParaRPr>
          </a:p>
        </p:txBody>
      </p:sp>
      <p:sp>
        <p:nvSpPr>
          <p:cNvPr id="596" name="Text Placeholder 2">
            <a:extLst>
              <a:ext uri="{FF2B5EF4-FFF2-40B4-BE49-F238E27FC236}">
                <a16:creationId xmlns:a16="http://schemas.microsoft.com/office/drawing/2014/main" id="{12E88F8B-E9AC-F979-7E0B-F1A50499D1BC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4527550" y="4576762"/>
            <a:ext cx="1438275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282E712-BA8C-4B39-A1B1-1CB8A0391F3D}" type="datetime'''''Mad''a''''''''g''''''''''''''''''as''''c''''''''a''''r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Madagascar</a:t>
            </a:fld>
            <a:endParaRPr lang="en-US" sz="1400" dirty="0">
              <a:cs typeface="+mn-cs"/>
            </a:endParaRPr>
          </a:p>
        </p:txBody>
      </p:sp>
      <p:sp>
        <p:nvSpPr>
          <p:cNvPr id="597" name="Text Placeholder 2">
            <a:extLst>
              <a:ext uri="{FF2B5EF4-FFF2-40B4-BE49-F238E27FC236}">
                <a16:creationId xmlns:a16="http://schemas.microsoft.com/office/drawing/2014/main" id="{B68AC920-1706-E631-E3D0-1EFE033D1521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527550" y="5046662"/>
            <a:ext cx="1438275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82B43BE-2571-4D23-9A1F-BA1296621E66}" type="datetime'''''''''''''M''a''''l''a''w''''''''''''''''''i''''''''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Malawi</a:t>
            </a:fld>
            <a:endParaRPr lang="en-US" sz="1400" dirty="0">
              <a:cs typeface="+mn-cs"/>
            </a:endParaRPr>
          </a:p>
        </p:txBody>
      </p:sp>
      <p:sp>
        <p:nvSpPr>
          <p:cNvPr id="598" name="Text Placeholder 2">
            <a:extLst>
              <a:ext uri="{FF2B5EF4-FFF2-40B4-BE49-F238E27FC236}">
                <a16:creationId xmlns:a16="http://schemas.microsoft.com/office/drawing/2014/main" id="{601B7A9E-9EF3-A17E-FD13-A0CE424877B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527550" y="5516562"/>
            <a:ext cx="1438275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78BB0B1-BB9A-4600-B0D2-35464BA7D13B}" type="datetime'''M''a''''''''''''''''''l''''''''''''''''''''i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Mali</a:t>
            </a:fld>
            <a:endParaRPr lang="en-US" sz="1400" dirty="0">
              <a:cs typeface="+mn-cs"/>
            </a:endParaRPr>
          </a:p>
        </p:txBody>
      </p:sp>
      <p:sp>
        <p:nvSpPr>
          <p:cNvPr id="644" name="Text Placeholder 2">
            <a:extLst>
              <a:ext uri="{FF2B5EF4-FFF2-40B4-BE49-F238E27FC236}">
                <a16:creationId xmlns:a16="http://schemas.microsoft.com/office/drawing/2014/main" id="{386E565C-F14C-F83E-CD19-BDF5DD9B0946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965825" y="1289050"/>
            <a:ext cx="2297113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36AC70A-B74B-4AA3-AE8C-953A4300ADDB}" type="datetime'''''''''M''''''a''''u''''ri''''t''''''''''ani''a''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Mauritania</a:t>
            </a:fld>
            <a:endParaRPr lang="en-US" sz="1400" dirty="0">
              <a:cs typeface="+mn-cs"/>
            </a:endParaRPr>
          </a:p>
        </p:txBody>
      </p:sp>
      <p:sp>
        <p:nvSpPr>
          <p:cNvPr id="645" name="Text Placeholder 2">
            <a:extLst>
              <a:ext uri="{FF2B5EF4-FFF2-40B4-BE49-F238E27FC236}">
                <a16:creationId xmlns:a16="http://schemas.microsoft.com/office/drawing/2014/main" id="{1282D297-CEAD-11EC-594E-BE2E39BD1F5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965825" y="1758950"/>
            <a:ext cx="2297113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23B4192-81E3-4A93-8BF1-32DFC3212F76}" type="datetime'''''''''M''o''za''''''''''m''bi''q''''u''''''''e''''''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Mozambique</a:t>
            </a:fld>
            <a:endParaRPr lang="en-US" sz="1400" dirty="0">
              <a:cs typeface="+mn-cs"/>
            </a:endParaRPr>
          </a:p>
        </p:txBody>
      </p:sp>
      <p:sp>
        <p:nvSpPr>
          <p:cNvPr id="646" name="Text Placeholder 2">
            <a:extLst>
              <a:ext uri="{FF2B5EF4-FFF2-40B4-BE49-F238E27FC236}">
                <a16:creationId xmlns:a16="http://schemas.microsoft.com/office/drawing/2014/main" id="{B0C8E3A8-EEFC-8758-CAF3-5A3442A8E659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965825" y="2228849"/>
            <a:ext cx="2297113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C7AB8F6-3ECD-4F67-99A0-B62BB622E9BA}" type="datetime'''''''''My''''''''a''''''''n''''''''''''m''''''''a''''r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Myanmar</a:t>
            </a:fld>
            <a:endParaRPr lang="en-US" sz="1400" dirty="0">
              <a:cs typeface="+mn-cs"/>
            </a:endParaRPr>
          </a:p>
        </p:txBody>
      </p:sp>
      <p:sp>
        <p:nvSpPr>
          <p:cNvPr id="647" name="Text Placeholder 2">
            <a:extLst>
              <a:ext uri="{FF2B5EF4-FFF2-40B4-BE49-F238E27FC236}">
                <a16:creationId xmlns:a16="http://schemas.microsoft.com/office/drawing/2014/main" id="{8671BB5D-654B-0578-E130-8228C3A4A90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5965825" y="2698749"/>
            <a:ext cx="2297113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A0F401C-775C-49CB-A235-A1675801C558}" type="datetime'''N''''''e''''''''''''''''''''''''''''''''''p''a''''''l''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Nepal</a:t>
            </a:fld>
            <a:endParaRPr lang="en-US" sz="1400" dirty="0">
              <a:cs typeface="+mn-cs"/>
            </a:endParaRPr>
          </a:p>
        </p:txBody>
      </p:sp>
      <p:sp>
        <p:nvSpPr>
          <p:cNvPr id="648" name="Text Placeholder 2">
            <a:extLst>
              <a:ext uri="{FF2B5EF4-FFF2-40B4-BE49-F238E27FC236}">
                <a16:creationId xmlns:a16="http://schemas.microsoft.com/office/drawing/2014/main" id="{2ABB0D9B-335F-D175-E543-40BA7EE15505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965825" y="3168649"/>
            <a:ext cx="2297113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6B76F6F-04E7-4585-84D1-7BD58FC84399}" type="datetime'N''i''''''''''''''''''''''''''''''g''''''er''''''''''''''''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Niger</a:t>
            </a:fld>
            <a:endParaRPr lang="en-US" sz="1400" dirty="0">
              <a:cs typeface="+mn-cs"/>
            </a:endParaRPr>
          </a:p>
        </p:txBody>
      </p:sp>
      <p:sp>
        <p:nvSpPr>
          <p:cNvPr id="649" name="Text Placeholder 2">
            <a:extLst>
              <a:ext uri="{FF2B5EF4-FFF2-40B4-BE49-F238E27FC236}">
                <a16:creationId xmlns:a16="http://schemas.microsoft.com/office/drawing/2014/main" id="{AB59A14D-54BF-AE45-FD61-4E9F7DBDD0C8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5965825" y="3638550"/>
            <a:ext cx="2297113" cy="468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3363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BFE717D-4905-4021-A2FC-D769C9FFF014}" type="datetime'N''''i''''''ge''''''''''r''''''''''''''''i''''''''a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Nigeria</a:t>
            </a:fld>
            <a:endParaRPr lang="en-US" sz="1400" dirty="0">
              <a:cs typeface="+mn-cs"/>
            </a:endParaRPr>
          </a:p>
        </p:txBody>
      </p:sp>
      <p:sp>
        <p:nvSpPr>
          <p:cNvPr id="650" name="Text Placeholder 2">
            <a:extLst>
              <a:ext uri="{FF2B5EF4-FFF2-40B4-BE49-F238E27FC236}">
                <a16:creationId xmlns:a16="http://schemas.microsoft.com/office/drawing/2014/main" id="{3EFCD353-852C-0265-7CDA-0A55217C1ED0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5965825" y="4106862"/>
            <a:ext cx="2297113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8B29767-F4F0-4085-B3C7-8428F9111D27}" type="datetime'''''Pa''ki''''''''''''''''st''''''''''''''an''''''''''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Pakistan</a:t>
            </a:fld>
            <a:endParaRPr lang="en-US" sz="1400" dirty="0">
              <a:cs typeface="+mn-cs"/>
            </a:endParaRPr>
          </a:p>
        </p:txBody>
      </p:sp>
      <p:sp>
        <p:nvSpPr>
          <p:cNvPr id="652" name="Text Placeholder 2">
            <a:extLst>
              <a:ext uri="{FF2B5EF4-FFF2-40B4-BE49-F238E27FC236}">
                <a16:creationId xmlns:a16="http://schemas.microsoft.com/office/drawing/2014/main" id="{B18DF755-5FE4-E592-078B-9D4D495D5615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965825" y="5046662"/>
            <a:ext cx="2297113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06BE1DD-B730-4A90-A810-E4E2113F3004}" type="datetime'S''ao ''Tome'' ''''an''''d'''''' ''''''''''Prin''cip''''''e'">
              <a:rPr lang="en-US" altLang="en-US" sz="1400" smtClean="0">
                <a:cs typeface="+mn-cs"/>
              </a:rPr>
              <a:pPr/>
              <a:t>Sao Tome and Principe</a:t>
            </a:fld>
            <a:endParaRPr lang="en-US" sz="1400" dirty="0">
              <a:cs typeface="+mn-cs"/>
            </a:endParaRPr>
          </a:p>
        </p:txBody>
      </p:sp>
      <p:sp>
        <p:nvSpPr>
          <p:cNvPr id="702" name="Text Placeholder 2">
            <a:extLst>
              <a:ext uri="{FF2B5EF4-FFF2-40B4-BE49-F238E27FC236}">
                <a16:creationId xmlns:a16="http://schemas.microsoft.com/office/drawing/2014/main" id="{527A384F-80BC-C1D9-C29C-12552A8354CA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8262938" y="2698749"/>
            <a:ext cx="2132013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0D15F15-8D97-4A36-BB3F-BCD6F40CED5E}" type="datetime'''''''S''''''''''''''''''''uda''''''''''''''''''n'''''''''''''">
              <a:rPr lang="en-US" altLang="en-US" sz="1400" smtClean="0">
                <a:cs typeface="+mn-cs"/>
              </a:rPr>
              <a:pPr/>
              <a:t>Sudan</a:t>
            </a:fld>
            <a:endParaRPr lang="en-US" sz="1400" dirty="0">
              <a:cs typeface="+mn-cs"/>
            </a:endParaRPr>
          </a:p>
        </p:txBody>
      </p:sp>
      <p:sp>
        <p:nvSpPr>
          <p:cNvPr id="703" name="Text Placeholder 2">
            <a:extLst>
              <a:ext uri="{FF2B5EF4-FFF2-40B4-BE49-F238E27FC236}">
                <a16:creationId xmlns:a16="http://schemas.microsoft.com/office/drawing/2014/main" id="{532E4884-FDE1-24C2-A8EB-22BEA706652E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8262938" y="3168649"/>
            <a:ext cx="2132013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1A700BF-61B6-470C-9C8C-46607C3959C0}" type="datetime'Syrian'' ''A''''''''r''a''''''''b ''''''''''''''Republ''ic'''">
              <a:rPr lang="en-US" altLang="en-US" sz="1400" smtClean="0">
                <a:cs typeface="+mn-cs"/>
              </a:rPr>
              <a:pPr/>
              <a:t>Syrian Arab Republic</a:t>
            </a:fld>
            <a:endParaRPr lang="en-US" sz="1400" dirty="0">
              <a:cs typeface="+mn-cs"/>
            </a:endParaRPr>
          </a:p>
        </p:txBody>
      </p:sp>
      <p:sp>
        <p:nvSpPr>
          <p:cNvPr id="704" name="Text Placeholder 2">
            <a:extLst>
              <a:ext uri="{FF2B5EF4-FFF2-40B4-BE49-F238E27FC236}">
                <a16:creationId xmlns:a16="http://schemas.microsoft.com/office/drawing/2014/main" id="{B1808A65-297C-7CD5-368F-30E7FE291EEF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8262938" y="3638550"/>
            <a:ext cx="2132013" cy="468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3363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F3D9A6B-2BD1-448A-8DAC-1B056B2A5FBC}" type="datetime'''''T''''''''''''''''''''aji''''''kist''''''a''n'''''''''''">
              <a:rPr lang="en-US" altLang="en-US" sz="1400" smtClean="0">
                <a:cs typeface="+mn-cs"/>
              </a:rPr>
              <a:pPr/>
              <a:t>Tajikistan</a:t>
            </a:fld>
            <a:endParaRPr lang="en-US" sz="1400" dirty="0">
              <a:cs typeface="+mn-cs"/>
            </a:endParaRPr>
          </a:p>
        </p:txBody>
      </p:sp>
      <p:sp>
        <p:nvSpPr>
          <p:cNvPr id="705" name="Text Placeholder 2">
            <a:extLst>
              <a:ext uri="{FF2B5EF4-FFF2-40B4-BE49-F238E27FC236}">
                <a16:creationId xmlns:a16="http://schemas.microsoft.com/office/drawing/2014/main" id="{F37C6F7D-6F33-0F71-4A55-B0B7111CDB75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8262938" y="4106862"/>
            <a:ext cx="2132013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BD6B731-4422-4016-BB9A-D749FFA8B850}" type="datetime'''''''T''''''''''a''nz''''ani''a'''''''''' ''''''''''''U''R'''">
              <a:rPr lang="en-US" altLang="en-US" sz="1400" smtClean="0">
                <a:cs typeface="+mn-cs"/>
              </a:rPr>
              <a:pPr/>
              <a:t>Tanzania UR</a:t>
            </a:fld>
            <a:endParaRPr lang="en-US" sz="1400" dirty="0">
              <a:cs typeface="+mn-cs"/>
            </a:endParaRPr>
          </a:p>
        </p:txBody>
      </p:sp>
      <p:sp>
        <p:nvSpPr>
          <p:cNvPr id="706" name="Text Placeholder 2">
            <a:extLst>
              <a:ext uri="{FF2B5EF4-FFF2-40B4-BE49-F238E27FC236}">
                <a16:creationId xmlns:a16="http://schemas.microsoft.com/office/drawing/2014/main" id="{2C90A87B-19B8-3271-3EE0-7C8761DD546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8262938" y="4576762"/>
            <a:ext cx="2132013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8F472B7-5198-4DDB-B114-908C4875DD0E}" type="datetime'''''''''''''''''''T''''''''''''''''''''''ogo'''''''''">
              <a:rPr lang="en-US" altLang="en-US" sz="1400" smtClean="0">
                <a:cs typeface="+mn-cs"/>
              </a:rPr>
              <a:pPr/>
              <a:t>Togo</a:t>
            </a:fld>
            <a:endParaRPr lang="en-US" sz="1400" dirty="0">
              <a:cs typeface="+mn-cs"/>
            </a:endParaRPr>
          </a:p>
        </p:txBody>
      </p:sp>
      <p:sp>
        <p:nvSpPr>
          <p:cNvPr id="779" name="Text Placeholder 2">
            <a:extLst>
              <a:ext uri="{FF2B5EF4-FFF2-40B4-BE49-F238E27FC236}">
                <a16:creationId xmlns:a16="http://schemas.microsoft.com/office/drawing/2014/main" id="{87BDC733-3FB7-35C0-4C49-F0C3998DF83E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5965825" y="4576763"/>
            <a:ext cx="2297113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36B98C5-F733-4193-862B-BB0DAE8E5C50}" type="datetime'R''''w''''''''''''''''a''''n''''''d''''''''''a'''''''''">
              <a:rPr lang="en-US" altLang="en-US" sz="1400" smtClean="0">
                <a:cs typeface="+mn-cs"/>
              </a:rPr>
              <a:pPr/>
              <a:t>Rwanda</a:t>
            </a:fld>
            <a:endParaRPr lang="en-US" sz="1400" dirty="0">
              <a:cs typeface="+mn-cs"/>
            </a:endParaRPr>
          </a:p>
        </p:txBody>
      </p:sp>
      <p:sp>
        <p:nvSpPr>
          <p:cNvPr id="781" name="Text Placeholder 2">
            <a:extLst>
              <a:ext uri="{FF2B5EF4-FFF2-40B4-BE49-F238E27FC236}">
                <a16:creationId xmlns:a16="http://schemas.microsoft.com/office/drawing/2014/main" id="{F5291525-3AFA-EA42-7F51-A6663B9D80FB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5965825" y="5516563"/>
            <a:ext cx="2297113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E936141-4524-4EA9-8FCF-2268A6D8D51D}" type="datetime'''''''''Se''''n''''''e''''ga''''l'''''''''''''''''''''''''">
              <a:rPr lang="en-US" altLang="en-US" sz="1400" smtClean="0">
                <a:cs typeface="+mn-cs"/>
              </a:rPr>
              <a:pPr/>
              <a:t>Senegal</a:t>
            </a:fld>
            <a:endParaRPr lang="en-US" sz="1400" dirty="0">
              <a:cs typeface="+mn-cs"/>
            </a:endParaRPr>
          </a:p>
        </p:txBody>
      </p:sp>
      <p:sp>
        <p:nvSpPr>
          <p:cNvPr id="783" name="Text Placeholder 2">
            <a:extLst>
              <a:ext uri="{FF2B5EF4-FFF2-40B4-BE49-F238E27FC236}">
                <a16:creationId xmlns:a16="http://schemas.microsoft.com/office/drawing/2014/main" id="{7714800A-95B4-9A94-CFEB-E228AFC61853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8262938" y="1289050"/>
            <a:ext cx="2132013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2290C33-916F-4A83-8456-877A30E8EC0A}" type="datetime'''''''S''ie''rra ''''''''L''e''''''''''''''''on''e'''''''">
              <a:rPr lang="en-US" altLang="en-US" sz="1400" smtClean="0">
                <a:cs typeface="+mn-cs"/>
              </a:rPr>
              <a:pPr/>
              <a:t>Sierra Leone</a:t>
            </a:fld>
            <a:endParaRPr lang="en-US" sz="1400" dirty="0">
              <a:cs typeface="+mn-cs"/>
            </a:endParaRPr>
          </a:p>
        </p:txBody>
      </p:sp>
      <p:sp>
        <p:nvSpPr>
          <p:cNvPr id="785" name="Text Placeholder 2">
            <a:extLst>
              <a:ext uri="{FF2B5EF4-FFF2-40B4-BE49-F238E27FC236}">
                <a16:creationId xmlns:a16="http://schemas.microsoft.com/office/drawing/2014/main" id="{02C30818-BE0A-E3AF-4A09-8F5FCD36AA79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8262938" y="1758950"/>
            <a:ext cx="2132013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1EC477B-B0E7-4A5F-BCAB-4342960264C5}" type="datetime'''S''''om''''''''''''a''''''''''''''''''l''''ia'''">
              <a:rPr lang="en-US" altLang="en-US" sz="1400" smtClean="0">
                <a:cs typeface="+mn-cs"/>
              </a:rPr>
              <a:pPr/>
              <a:t>Somalia</a:t>
            </a:fld>
            <a:endParaRPr lang="en-US" sz="1400" dirty="0">
              <a:cs typeface="+mn-cs"/>
            </a:endParaRPr>
          </a:p>
        </p:txBody>
      </p:sp>
      <p:sp>
        <p:nvSpPr>
          <p:cNvPr id="786" name="Text Placeholder 2">
            <a:extLst>
              <a:ext uri="{FF2B5EF4-FFF2-40B4-BE49-F238E27FC236}">
                <a16:creationId xmlns:a16="http://schemas.microsoft.com/office/drawing/2014/main" id="{10454A3F-425D-A174-26AF-D86356E5C27D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8262938" y="2228850"/>
            <a:ext cx="2132013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E5C0C57-04CE-4073-8E68-C74DB2470C82}" type="datetime'S''o''''ut''''''h ''''Su''''''''''''''d''''''a''''''''n'''">
              <a:rPr lang="en-US" altLang="en-US" sz="1400" smtClean="0">
                <a:cs typeface="+mn-cs"/>
              </a:rPr>
              <a:pPr/>
              <a:t>South Sudan</a:t>
            </a:fld>
            <a:endParaRPr lang="en-US" sz="1400" dirty="0">
              <a:cs typeface="+mn-cs"/>
            </a:endParaRPr>
          </a:p>
        </p:txBody>
      </p:sp>
      <p:sp>
        <p:nvSpPr>
          <p:cNvPr id="788" name="Text Placeholder 2">
            <a:extLst>
              <a:ext uri="{FF2B5EF4-FFF2-40B4-BE49-F238E27FC236}">
                <a16:creationId xmlns:a16="http://schemas.microsoft.com/office/drawing/2014/main" id="{EBDE287C-9972-7E6D-A492-B9EF62564F7B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8262938" y="5046663"/>
            <a:ext cx="2132013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B3F2E8A-E12A-40EE-8106-A7BA631330E3}" type="datetime'''''U''''''''''ga''n''''''''''''''d''''''a'''">
              <a:rPr lang="en-US" altLang="en-US" sz="1400" smtClean="0">
                <a:cs typeface="+mn-cs"/>
              </a:rPr>
              <a:pPr/>
              <a:t>Uganda</a:t>
            </a:fld>
            <a:endParaRPr lang="en-US" sz="1400" dirty="0">
              <a:cs typeface="+mn-cs"/>
            </a:endParaRPr>
          </a:p>
        </p:txBody>
      </p:sp>
      <p:sp>
        <p:nvSpPr>
          <p:cNvPr id="789" name="Text Placeholder 2">
            <a:extLst>
              <a:ext uri="{FF2B5EF4-FFF2-40B4-BE49-F238E27FC236}">
                <a16:creationId xmlns:a16="http://schemas.microsoft.com/office/drawing/2014/main" id="{DC29DF40-3796-719D-23C6-D0486B03CC71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8262938" y="5516563"/>
            <a:ext cx="2132013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19CF949-C616-4E27-8882-9811CF4F4156}" type="datetime'''''''Y''''''''e''''''''m''''e''''''''''''''''''''n'''''">
              <a:rPr lang="en-US" altLang="en-US" sz="1400" smtClean="0">
                <a:cs typeface="+mn-cs"/>
              </a:rPr>
              <a:pPr/>
              <a:t>Yemen</a:t>
            </a:fld>
            <a:endParaRPr lang="en-US" sz="1400" dirty="0">
              <a:cs typeface="+mn-cs"/>
            </a:endParaRPr>
          </a:p>
        </p:txBody>
      </p:sp>
      <p:sp>
        <p:nvSpPr>
          <p:cNvPr id="791" name="Text Placeholder 2">
            <a:extLst>
              <a:ext uri="{FF2B5EF4-FFF2-40B4-BE49-F238E27FC236}">
                <a16:creationId xmlns:a16="http://schemas.microsoft.com/office/drawing/2014/main" id="{E1D38C35-D214-4A5F-913B-2B54A4470EE9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10394950" y="1289050"/>
            <a:ext cx="1281113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9111E45-B462-48EE-BB67-C09238284B92}" type="datetime'''Z''''''''''''a''''''''''''''m''''''''''''''b''''''''''ia'''">
              <a:rPr lang="en-US" altLang="en-US" sz="1400" smtClean="0">
                <a:cs typeface="+mn-cs"/>
              </a:rPr>
              <a:pPr/>
              <a:t>Zambia</a:t>
            </a:fld>
            <a:endParaRPr lang="en-US" sz="1400" dirty="0">
              <a:cs typeface="+mn-cs"/>
            </a:endParaRPr>
          </a:p>
        </p:txBody>
      </p:sp>
      <p:sp>
        <p:nvSpPr>
          <p:cNvPr id="792" name="Text Placeholder 2">
            <a:extLst>
              <a:ext uri="{FF2B5EF4-FFF2-40B4-BE49-F238E27FC236}">
                <a16:creationId xmlns:a16="http://schemas.microsoft.com/office/drawing/2014/main" id="{7DD24620-3759-8FF5-50F5-B951749A3FF1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10394950" y="1758950"/>
            <a:ext cx="1281113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3495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CF79167-56C4-44FB-96BD-76A34727BFE3}" type="datetime'''''''Zi''m''''''''''''''''b''''a''b''''''''we'''''''">
              <a:rPr lang="en-US" altLang="en-US" sz="1400" smtClean="0">
                <a:cs typeface="+mn-cs"/>
              </a:rPr>
              <a:pPr/>
              <a:t>Zimbabwe</a:t>
            </a:fld>
            <a:endParaRPr lang="en-US" sz="1400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29049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45291AE-EA20-071C-AD5F-3A17092735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Base Forecast - Gener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77FD61-CC8A-DB06-DCB9-F1AE88536E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SCENARIOS AND PROGRAM PARAMETER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49D7A9-8C60-3C0B-81A3-63D9467C1A5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6643230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9E73D25C-1B49-9C07-C50A-A2001D1891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53" imgH="353" progId="TCLayout.ActiveDocument.1">
                  <p:embed/>
                </p:oleObj>
              </mc:Choice>
              <mc:Fallback>
                <p:oleObj name="think-cell Slide" r:id="rId18" imgW="353" imgH="353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73D25C-1B49-9C07-C50A-A2001D189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01315FB-51B7-4182-FD4A-0C02880BFB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567" y="368300"/>
            <a:ext cx="10898496" cy="592778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26.8 million vaccine doses are expected to be needed between 2025 and 203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FBE706-B977-A5F1-0060-B7DEBC60F1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EC39D3-6F79-9DC8-DBAA-2B03862FE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CAGR: Compounded Annual Growth Rate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40E1E111-BF0B-4B90-01DF-76430F4D3D31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95325" y="1762125"/>
          <a:ext cx="10298113" cy="4002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665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77875" y="1227138"/>
            <a:ext cx="1714500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effectLst/>
                <a:cs typeface="+mn-cs"/>
              </a:rPr>
              <a:t>Total volume of doses</a:t>
            </a:r>
          </a:p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effectLst/>
                <a:cs typeface="+mn-cs"/>
              </a:rPr>
              <a:t>(in million)</a:t>
            </a:r>
          </a:p>
        </p:txBody>
      </p:sp>
      <p:sp>
        <p:nvSpPr>
          <p:cNvPr id="504" name="Text Placeholder 2">
            <a:extLst>
              <a:ext uri="{FF2B5EF4-FFF2-40B4-BE49-F238E27FC236}">
                <a16:creationId xmlns:a16="http://schemas.microsoft.com/office/drawing/2014/main" id="{E610ACB7-6B57-D620-4190-48DC0075B6A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419225" y="57404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F8509E1-ACF9-492D-B41E-14A1F4CE1617}" type="datetime'''''''''''''''''''''''''''''''''''20''''25'">
              <a:rPr lang="en-US" altLang="en-US" sz="1400" smtClean="0">
                <a:cs typeface="+mn-cs"/>
              </a:rPr>
              <a:pPr/>
              <a:t>2025</a:t>
            </a:fld>
            <a:endParaRPr lang="en-US" sz="1400" dirty="0">
              <a:cs typeface="+mn-cs"/>
            </a:endParaRPr>
          </a:p>
        </p:txBody>
      </p:sp>
      <p:sp>
        <p:nvSpPr>
          <p:cNvPr id="495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108325" y="57404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4C9CB0C-D2ED-4882-9199-D888E5BFD5EC}" type="datetime'20''''''''''''''''''''''''''''2''''''''6'''''''">
              <a:rPr lang="en-US" altLang="en-US" sz="1400" smtClean="0">
                <a:cs typeface="+mn-cs"/>
              </a:rPr>
              <a:pPr/>
              <a:t>2026</a:t>
            </a:fld>
            <a:endParaRPr lang="en-US" sz="1400" dirty="0">
              <a:cs typeface="+mn-cs"/>
            </a:endParaRPr>
          </a:p>
        </p:txBody>
      </p:sp>
      <p:sp>
        <p:nvSpPr>
          <p:cNvPr id="49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797425" y="57404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4BAFE86-C887-41EC-8315-16797B7DEEEE}" type="datetime'2''''''''''''''''''0''''''''2''''''''''''''7'''''''''''">
              <a:rPr lang="en-US" altLang="en-US" sz="1400" smtClean="0">
                <a:cs typeface="+mn-cs"/>
              </a:rPr>
              <a:pPr/>
              <a:t>2027</a:t>
            </a:fld>
            <a:endParaRPr lang="en-US" sz="1400" dirty="0">
              <a:cs typeface="+mn-cs"/>
            </a:endParaRPr>
          </a:p>
        </p:txBody>
      </p:sp>
      <p:sp>
        <p:nvSpPr>
          <p:cNvPr id="49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484938" y="57404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C37DB31-83F7-47AE-A167-A4BA4B6FBCD4}" type="datetime'''''''''2''''''''''''''''''''''''''''0''''''''''2''8'''''">
              <a:rPr lang="en-US" altLang="en-US" sz="1400" smtClean="0">
                <a:cs typeface="+mn-cs"/>
              </a:rPr>
              <a:pPr/>
              <a:t>2028</a:t>
            </a:fld>
            <a:endParaRPr lang="en-US" sz="1400" dirty="0">
              <a:cs typeface="+mn-cs"/>
            </a:endParaRPr>
          </a:p>
        </p:txBody>
      </p:sp>
      <p:sp>
        <p:nvSpPr>
          <p:cNvPr id="499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174038" y="57404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00530F8-5BFC-4B5B-8317-8F3F4B0BD4F3}" type="datetime'''''''''2''''''''''02''''''''''''''''''''''''''''9'''''''''''">
              <a:rPr lang="en-US" altLang="en-US" sz="1400" smtClean="0">
                <a:cs typeface="+mn-cs"/>
              </a:rPr>
              <a:pPr/>
              <a:t>2029</a:t>
            </a:fld>
            <a:endParaRPr lang="en-US" sz="1400" dirty="0">
              <a:cs typeface="+mn-cs"/>
            </a:endParaRPr>
          </a:p>
        </p:txBody>
      </p:sp>
      <p:sp>
        <p:nvSpPr>
          <p:cNvPr id="50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863138" y="57404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5FEF2E5-5061-44F8-9744-CCD4CB55722C}" type="datetime'''''''''2''''''''''''''''''''0''''''''''3''''0'''''''''''''''">
              <a:rPr lang="en-US" altLang="en-US" sz="1400" smtClean="0">
                <a:cs typeface="+mn-cs"/>
              </a:rPr>
              <a:pPr/>
              <a:t>2030</a:t>
            </a:fld>
            <a:endParaRPr lang="en-US" sz="1400" dirty="0">
              <a:cs typeface="+mn-cs"/>
            </a:endParaRPr>
          </a:p>
        </p:txBody>
      </p:sp>
      <p:sp>
        <p:nvSpPr>
          <p:cNvPr id="52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474789" y="5229225"/>
            <a:ext cx="2968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02ECA80-D10D-47FE-B144-1C5830A2C4B3}" type="datetime'''''''''''''0''''''''''''''''.''''''''''5'''''''''''''''''''''">
              <a:rPr lang="en-US" altLang="en-US" sz="1400" b="1" smtClean="0">
                <a:cs typeface="+mn-cs"/>
              </a:rPr>
              <a:pPr/>
              <a:t>0.5</a:t>
            </a:fld>
            <a:endParaRPr lang="en-US" sz="1400" b="1" dirty="0">
              <a:cs typeface="+mn-cs"/>
            </a:endParaRPr>
          </a:p>
        </p:txBody>
      </p:sp>
      <p:sp>
        <p:nvSpPr>
          <p:cNvPr id="521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163889" y="4940300"/>
            <a:ext cx="2968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C619C40-62C9-4F38-A438-80F4F3973E21}" type="datetime'''''1''''''''''''''''''''''.''''''''3'''''''''''''''''''''''''">
              <a:rPr lang="en-US" altLang="en-US" sz="1400" b="1" smtClean="0">
                <a:cs typeface="+mn-cs"/>
              </a:rPr>
              <a:pPr/>
              <a:t>1.3</a:t>
            </a:fld>
            <a:endParaRPr lang="en-US" sz="1400" b="1" dirty="0">
              <a:cs typeface="+mn-cs"/>
            </a:endParaRPr>
          </a:p>
        </p:txBody>
      </p:sp>
      <p:sp>
        <p:nvSpPr>
          <p:cNvPr id="52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52989" y="4572000"/>
            <a:ext cx="2968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9093ECD-C64D-49BC-81E8-7F7ABCF4306F}" type="datetime'''''''''''''''''''''''''''''''''2''''''.''''''4'''''''''''''''">
              <a:rPr lang="en-US" altLang="en-US" sz="1400" b="1" smtClean="0">
                <a:cs typeface="+mn-cs"/>
              </a:rPr>
              <a:pPr/>
              <a:t>2.4</a:t>
            </a:fld>
            <a:endParaRPr lang="en-US" sz="1400" b="1" dirty="0">
              <a:cs typeface="+mn-cs"/>
            </a:endParaRPr>
          </a:p>
        </p:txBody>
      </p:sp>
      <p:sp>
        <p:nvSpPr>
          <p:cNvPr id="52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540501" y="3981450"/>
            <a:ext cx="2968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554FFFE-4FC0-4B24-BB66-D204392D7648}" type="datetime'''''''''''''''''''4.''''''''''''0'''''''''''''''''">
              <a:rPr lang="en-US" altLang="en-US" sz="1400" b="1" smtClean="0">
                <a:cs typeface="+mn-cs"/>
              </a:rPr>
              <a:pPr/>
              <a:t>4.0</a:t>
            </a:fld>
            <a:endParaRPr lang="en-US" sz="1400" b="1" dirty="0">
              <a:cs typeface="+mn-cs"/>
            </a:endParaRPr>
          </a:p>
        </p:txBody>
      </p:sp>
      <p:sp>
        <p:nvSpPr>
          <p:cNvPr id="52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8229601" y="2547938"/>
            <a:ext cx="2968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0E1A5D1-6C19-4CE5-ADF9-020CB9B1CC75}" type="datetime'''''8''''''''.''''0'''''''''''''''''''''''''">
              <a:rPr lang="en-US" altLang="en-US" sz="1400" b="1" smtClean="0">
                <a:cs typeface="+mn-cs"/>
              </a:rPr>
              <a:pPr/>
              <a:t>8.0</a:t>
            </a:fld>
            <a:endParaRPr lang="en-US" sz="1400" b="1" dirty="0">
              <a:cs typeface="+mn-cs"/>
            </a:endParaRPr>
          </a:p>
        </p:txBody>
      </p:sp>
      <p:sp>
        <p:nvSpPr>
          <p:cNvPr id="525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9869487" y="1584325"/>
            <a:ext cx="39528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EDEB038-5F93-4A06-BC75-71274902A1CC}" type="datetime'1''''''''0''''''''''''''.''''''''''''6'''''''''''''''''">
              <a:rPr lang="en-US" altLang="en-US" sz="1400" b="1" smtClean="0">
                <a:cs typeface="+mn-cs"/>
              </a:rPr>
              <a:pPr/>
              <a:t>10.6</a:t>
            </a:fld>
            <a:endParaRPr lang="en-US" sz="1400" b="1" dirty="0">
              <a:cs typeface="+mn-cs"/>
            </a:endParaRPr>
          </a:p>
        </p:txBody>
      </p:sp>
      <p:sp>
        <p:nvSpPr>
          <p:cNvPr id="544" name="Rectangle: Rounded Corners 543">
            <a:extLst>
              <a:ext uri="{FF2B5EF4-FFF2-40B4-BE49-F238E27FC236}">
                <a16:creationId xmlns:a16="http://schemas.microsoft.com/office/drawing/2014/main" id="{D8123F2C-A94F-1276-6FF8-12B3EF8E0CD2}"/>
              </a:ext>
            </a:extLst>
          </p:cNvPr>
          <p:cNvSpPr/>
          <p:nvPr/>
        </p:nvSpPr>
        <p:spPr>
          <a:xfrm>
            <a:off x="777567" y="6010275"/>
            <a:ext cx="1442002" cy="234949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Gavi 5.0</a:t>
            </a:r>
          </a:p>
        </p:txBody>
      </p:sp>
      <p:sp>
        <p:nvSpPr>
          <p:cNvPr id="545" name="Rectangle: Rounded Corners 544">
            <a:extLst>
              <a:ext uri="{FF2B5EF4-FFF2-40B4-BE49-F238E27FC236}">
                <a16:creationId xmlns:a16="http://schemas.microsoft.com/office/drawing/2014/main" id="{BD4AB36D-4037-48CF-FE2A-4391B2761B6F}"/>
              </a:ext>
            </a:extLst>
          </p:cNvPr>
          <p:cNvSpPr/>
          <p:nvPr/>
        </p:nvSpPr>
        <p:spPr>
          <a:xfrm>
            <a:off x="2590524" y="6010275"/>
            <a:ext cx="8022768" cy="234949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Gavi 6.0</a:t>
            </a:r>
          </a:p>
        </p:txBody>
      </p:sp>
      <p:sp>
        <p:nvSpPr>
          <p:cNvPr id="551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481638" y="1844675"/>
            <a:ext cx="1663700" cy="69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sz="1800" b="1" dirty="0">
                <a:effectLst/>
                <a:cs typeface="+mn-cs"/>
              </a:rPr>
              <a:t>Gavi 5.0: </a:t>
            </a:r>
            <a:r>
              <a:rPr lang="en-US" altLang="en-US" sz="1800" dirty="0">
                <a:cs typeface="+mn-cs"/>
              </a:rPr>
              <a:t>0</a:t>
            </a:r>
            <a:r>
              <a:rPr lang="en-US" altLang="en-US" sz="1800" dirty="0">
                <a:effectLst/>
                <a:cs typeface="+mn-cs"/>
              </a:rPr>
              <a:t>.5</a:t>
            </a:r>
            <a:r>
              <a:rPr lang="en-US" altLang="en-US" sz="1800" dirty="0">
                <a:cs typeface="+mn-cs"/>
              </a:rPr>
              <a:t>M</a:t>
            </a:r>
            <a:r>
              <a:rPr lang="en-US" altLang="en-US" sz="1800" dirty="0">
                <a:effectLst/>
                <a:cs typeface="+mn-cs"/>
              </a:rPr>
              <a:t> </a:t>
            </a:r>
          </a:p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sz="1800" b="1" dirty="0">
                <a:cs typeface="+mn-cs"/>
              </a:rPr>
              <a:t>Gavi 6.0: </a:t>
            </a:r>
            <a:r>
              <a:rPr lang="en-US" sz="1800" dirty="0">
                <a:cs typeface="+mn-cs"/>
              </a:rPr>
              <a:t>26.3M</a:t>
            </a:r>
          </a:p>
        </p:txBody>
      </p:sp>
    </p:spTree>
    <p:extLst>
      <p:ext uri="{BB962C8B-B14F-4D97-AF65-F5344CB8AC3E}">
        <p14:creationId xmlns:p14="http://schemas.microsoft.com/office/powerpoint/2010/main" val="17352587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E566C35E-C44F-7998-8F23-4626D3C668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6594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353" imgH="353" progId="TCLayout.ActiveDocument.1">
                  <p:embed/>
                </p:oleObj>
              </mc:Choice>
              <mc:Fallback>
                <p:oleObj name="think-cell Slide" r:id="rId55" imgW="353" imgH="353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66C35E-C44F-7998-8F23-4626D3C668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2C6A43-0EA3-F269-630A-C6ABCB8C6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219810"/>
            <a:ext cx="11553050" cy="592778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Vaccine introductions are phased in on a rolling schedule with 35 countries expected to receive GAVI funding by 203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C5C424-407F-2616-9A37-B88982979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16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236C62-4884-376B-B0C8-E8D6FDF7EE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esentation Footer</a:t>
            </a:r>
          </a:p>
        </p:txBody>
      </p:sp>
      <p:graphicFrame>
        <p:nvGraphicFramePr>
          <p:cNvPr id="57" name="Chart 56">
            <a:extLst>
              <a:ext uri="{FF2B5EF4-FFF2-40B4-BE49-F238E27FC236}">
                <a16:creationId xmlns:a16="http://schemas.microsoft.com/office/drawing/2014/main" id="{46B2D6C2-AB0C-60FE-0B75-D94BCB0C9936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096963" y="1636713"/>
          <a:ext cx="10661650" cy="4298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sp>
        <p:nvSpPr>
          <p:cNvPr id="465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624013" y="4986338"/>
            <a:ext cx="8588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A75C813-2CBE-419D-8997-5550A3A7CC1F}" type="datetime'''C''''''''a''''''''''''m''b''''''od''''''''''i''''''''''a'''">
              <a:rPr lang="en-US" altLang="en-US" sz="1400" smtClean="0">
                <a:cs typeface="+mn-cs"/>
              </a:rPr>
              <a:pPr/>
              <a:t>Cambodia</a:t>
            </a:fld>
            <a:endParaRPr lang="en-US" sz="1400" dirty="0">
              <a:cs typeface="+mn-cs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AF3DACC-ACF7-5AC6-E42E-2DB006E40D3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519238" y="3760788"/>
            <a:ext cx="1066800" cy="23495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D49E48B-F5C6-4486-AC5F-1A32BB25DF0B}" type="datetime'''''T''''anz''''''a''''''''''nia'''' U''''''R'''">
              <a:rPr lang="en-US" altLang="en-US" sz="1400" smtClean="0">
                <a:effectLst/>
                <a:cs typeface="+mn-cs"/>
              </a:rPr>
              <a:pPr/>
              <a:t>Tanzania UR</a:t>
            </a:fld>
            <a:endParaRPr lang="en-US" sz="1400" dirty="0"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E4A7EAAC-6F75-E40C-B440-3C7F32B4BD2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530350" y="2913063"/>
            <a:ext cx="1046163" cy="2349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FF631A9-A5F0-4723-9931-7F97DC10E1C5}" type="datetime'''''''Cô''t''''''e'''' d''''’''''''''''''I''vo''i''r''''e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/>
              <a:t>Côte d’Ivoire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4830" name="Text Placeholder 2">
            <a:extLst>
              <a:ext uri="{FF2B5EF4-FFF2-40B4-BE49-F238E27FC236}">
                <a16:creationId xmlns:a16="http://schemas.microsoft.com/office/drawing/2014/main" id="{5A4C1A13-6EFB-43CF-9259-CB07462AFC6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800225" y="2332038"/>
            <a:ext cx="5048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F98848F-0C8B-444E-895F-F3614C7AC916}" type="datetime'''B''en''''''''''''''''i''''''''''''''''''''''n'''''''">
              <a:rPr lang="en-US" altLang="en-US" sz="1400" smtClean="0">
                <a:cs typeface="+mn-cs"/>
              </a:rPr>
              <a:pPr/>
              <a:t>Benin</a:t>
            </a:fld>
            <a:endParaRPr lang="en-US" sz="1400" dirty="0">
              <a:cs typeface="+mn-cs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05160231-9A99-C0CD-9431-A05737838D1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539875" y="1985963"/>
            <a:ext cx="1025525" cy="2349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22740E7-32E6-40B3-8736-ECAA5CB292A5}" type="datetime'''''M''adag''''a''''''s''''''''''c''''a''r''''''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/>
              <a:t>Madagascar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4647" name="Text Placeholder 2">
            <a:extLst>
              <a:ext uri="{FF2B5EF4-FFF2-40B4-BE49-F238E27FC236}">
                <a16:creationId xmlns:a16="http://schemas.microsoft.com/office/drawing/2014/main" id="{0DA501AB-6857-0A2E-E718-6A91D7D6851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622425" y="1741488"/>
            <a:ext cx="3762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1553FB6-4BA1-43A7-BCF6-29F821A10979}" type="datetime'''''M''''''''''''''a''''''l''''i'''''''''''''''''''''''''">
              <a:rPr lang="en-US" altLang="en-US" sz="1400" smtClean="0">
                <a:effectLst/>
                <a:cs typeface="+mn-cs"/>
              </a:rPr>
              <a:pPr/>
              <a:t>Mali</a:t>
            </a:fld>
            <a:endParaRPr lang="en-US" sz="1400" dirty="0">
              <a:cs typeface="+mn-cs"/>
            </a:endParaRPr>
          </a:p>
        </p:txBody>
      </p:sp>
      <p:sp>
        <p:nvSpPr>
          <p:cNvPr id="4657" name="Text Placeholder 2">
            <a:extLst>
              <a:ext uri="{FF2B5EF4-FFF2-40B4-BE49-F238E27FC236}">
                <a16:creationId xmlns:a16="http://schemas.microsoft.com/office/drawing/2014/main" id="{1B66E2BD-E520-6B44-E76F-EE58D44216E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060575" y="1617663"/>
            <a:ext cx="474663" cy="23495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4F71953-E7C8-4F0F-BB1C-D3211C839CDC}" type="datetime'C''''''h''''''''''a''''''''''d'''''''''''''''''''''''''''''">
              <a:rPr lang="en-US" altLang="en-US" sz="1400" smtClean="0">
                <a:cs typeface="+mn-cs"/>
              </a:rPr>
              <a:pPr/>
              <a:t>Chad</a:t>
            </a:fld>
            <a:endParaRPr lang="en-US" sz="1400" dirty="0">
              <a:cs typeface="+mn-cs"/>
            </a:endParaRPr>
          </a:p>
        </p:txBody>
      </p:sp>
      <p:sp>
        <p:nvSpPr>
          <p:cNvPr id="4665" name="Text Placeholder 2">
            <a:extLst>
              <a:ext uri="{FF2B5EF4-FFF2-40B4-BE49-F238E27FC236}">
                <a16:creationId xmlns:a16="http://schemas.microsoft.com/office/drawing/2014/main" id="{A189BAB0-9A88-1B97-F947-A5CBD3831B1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849438" y="59118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345039F-8DBC-4C31-960C-5B45A06CC1A6}" type="datetime'''2''''''''''''''''''''''''''''''''''''02''''''''''''''5'''">
              <a:rPr lang="en-US" altLang="en-US" sz="1400" smtClean="0">
                <a:cs typeface="+mn-cs"/>
              </a:rPr>
              <a:pPr/>
              <a:t>2025</a:t>
            </a:fld>
            <a:endParaRPr lang="en-US" sz="1400" dirty="0">
              <a:cs typeface="+mn-cs"/>
            </a:endParaRPr>
          </a:p>
        </p:txBody>
      </p:sp>
      <p:sp>
        <p:nvSpPr>
          <p:cNvPr id="4661" name="Text Placeholder 2">
            <a:extLst>
              <a:ext uri="{FF2B5EF4-FFF2-40B4-BE49-F238E27FC236}">
                <a16:creationId xmlns:a16="http://schemas.microsoft.com/office/drawing/2014/main" id="{86589467-0CFE-B7BB-EF40-46D050653BD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525838" y="5078413"/>
            <a:ext cx="5540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F09E0E9-85E2-441E-9F1B-5597D6D51F89}" type="datetime'''K''''''''''''''''''''''''en''''''''''''''''''ya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Kenya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4698" name="Text Placeholder 2">
            <a:extLst>
              <a:ext uri="{FF2B5EF4-FFF2-40B4-BE49-F238E27FC236}">
                <a16:creationId xmlns:a16="http://schemas.microsoft.com/office/drawing/2014/main" id="{9FFED641-7931-843D-0B3F-DAFE1B1F5E3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373438" y="4030663"/>
            <a:ext cx="8588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3EE7453-EDD4-48BE-9643-27F772BF71EA}" type="datetime'''C''''''''a''''''''''''m''b''''''od''''''''''i''''''''''a'''">
              <a:rPr lang="en-US" altLang="en-US" sz="1400" smtClean="0">
                <a:cs typeface="+mn-cs"/>
              </a:rPr>
              <a:pPr/>
              <a:t>Cambodia</a:t>
            </a:fld>
            <a:endParaRPr lang="en-US" sz="1400" dirty="0">
              <a:cs typeface="+mn-cs"/>
            </a:endParaRPr>
          </a:p>
        </p:txBody>
      </p:sp>
      <p:sp>
        <p:nvSpPr>
          <p:cNvPr id="4707" name="Text Placeholder 2">
            <a:extLst>
              <a:ext uri="{FF2B5EF4-FFF2-40B4-BE49-F238E27FC236}">
                <a16:creationId xmlns:a16="http://schemas.microsoft.com/office/drawing/2014/main" id="{0DF36EBA-48D0-DBB8-14D7-481EEF01715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544888" y="2908300"/>
            <a:ext cx="51435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D8B5788-5574-4FAD-B98A-3EF411A93E5E}" type="datetime'''''''''Nep''''''''''''''''''''''''''''''''''a''''l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/>
              <a:t>Nepal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4658" name="Text Placeholder 2">
            <a:extLst>
              <a:ext uri="{FF2B5EF4-FFF2-40B4-BE49-F238E27FC236}">
                <a16:creationId xmlns:a16="http://schemas.microsoft.com/office/drawing/2014/main" id="{54538682-9315-E27A-FD6B-410E76A41A3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598863" y="59118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D2A7DE3-DA80-4528-8635-3AA320EEB728}" type="datetime'2''''''''''''0''''''''''''''''2''''''''6'''''''''''''''''''">
              <a:rPr lang="en-US" altLang="en-US" sz="1400" smtClean="0">
                <a:cs typeface="+mn-cs"/>
              </a:rPr>
              <a:pPr/>
              <a:t>2026</a:t>
            </a:fld>
            <a:endParaRPr lang="en-US" sz="1400" dirty="0">
              <a:cs typeface="+mn-cs"/>
            </a:endParaRPr>
          </a:p>
        </p:txBody>
      </p:sp>
      <p:sp>
        <p:nvSpPr>
          <p:cNvPr id="4710" name="Text Placeholder 2">
            <a:extLst>
              <a:ext uri="{FF2B5EF4-FFF2-40B4-BE49-F238E27FC236}">
                <a16:creationId xmlns:a16="http://schemas.microsoft.com/office/drawing/2014/main" id="{DD8D30DD-7892-3E29-18DF-23684CDA85E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275263" y="5253038"/>
            <a:ext cx="5540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4CDD7B4-EEDD-4AC8-9DA9-96E35AC078AF}" type="datetime'''K''''''''''''''''''''''''en''''''''''''''''''ya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Kenya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4716" name="Text Placeholder 2">
            <a:extLst>
              <a:ext uri="{FF2B5EF4-FFF2-40B4-BE49-F238E27FC236}">
                <a16:creationId xmlns:a16="http://schemas.microsoft.com/office/drawing/2014/main" id="{41028BEC-D87C-16E5-BF2A-20BB9EC4E292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122863" y="4481513"/>
            <a:ext cx="8588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C496173-3545-49F2-816A-A0E84934561D}" type="datetime'''C''''''''a''''''''''''m''b''''''od''''''''''i''''''''''a'''">
              <a:rPr lang="en-US" altLang="en-US" sz="1400" smtClean="0">
                <a:cs typeface="+mn-cs"/>
              </a:rPr>
              <a:pPr/>
              <a:t>Cambodia</a:t>
            </a:fld>
            <a:endParaRPr lang="en-US" sz="1400" dirty="0">
              <a:cs typeface="+mn-cs"/>
            </a:endParaRPr>
          </a:p>
        </p:txBody>
      </p:sp>
      <p:sp>
        <p:nvSpPr>
          <p:cNvPr id="4719" name="Text Placeholder 2">
            <a:extLst>
              <a:ext uri="{FF2B5EF4-FFF2-40B4-BE49-F238E27FC236}">
                <a16:creationId xmlns:a16="http://schemas.microsoft.com/office/drawing/2014/main" id="{F1CA255F-6846-4B0C-CDCB-D0B3A78C836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216526" y="3968750"/>
            <a:ext cx="6715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D7E1C33-268A-4DC3-BBE9-AD900BC10A27}" type="datetime'''''''''''Ug''''''''''a''''''n''''''''''''''d''''a'">
              <a:rPr lang="en-US" altLang="en-US" sz="1400" smtClean="0">
                <a:effectLst/>
                <a:cs typeface="+mn-cs"/>
              </a:rPr>
              <a:pPr/>
              <a:t>Uganda</a:t>
            </a:fld>
            <a:endParaRPr lang="en-US" sz="1400" dirty="0">
              <a:cs typeface="+mn-cs"/>
            </a:endParaRPr>
          </a:p>
        </p:txBody>
      </p:sp>
      <p:sp>
        <p:nvSpPr>
          <p:cNvPr id="4713" name="Text Placeholder 2">
            <a:extLst>
              <a:ext uri="{FF2B5EF4-FFF2-40B4-BE49-F238E27FC236}">
                <a16:creationId xmlns:a16="http://schemas.microsoft.com/office/drawing/2014/main" id="{456CACF2-9D80-3E78-6D31-7F8125CDB8D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018087" y="3560763"/>
            <a:ext cx="1066800" cy="23495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02BD30C-4426-48DF-B90E-331DEBACCFA0}" type="datetime'''''T''''anz''''''a''''''''''nia'''' U''''''R'''">
              <a:rPr lang="en-US" altLang="en-US" sz="1400" smtClean="0">
                <a:cs typeface="+mn-cs"/>
              </a:rPr>
              <a:pPr/>
              <a:t>Tanzania UR</a:t>
            </a:fld>
            <a:endParaRPr lang="en-US" sz="1400" dirty="0">
              <a:cs typeface="+mn-cs"/>
            </a:endParaRPr>
          </a:p>
        </p:txBody>
      </p:sp>
      <p:sp>
        <p:nvSpPr>
          <p:cNvPr id="4722" name="Text Placeholder 2">
            <a:extLst>
              <a:ext uri="{FF2B5EF4-FFF2-40B4-BE49-F238E27FC236}">
                <a16:creationId xmlns:a16="http://schemas.microsoft.com/office/drawing/2014/main" id="{8403EFC6-3940-5783-BA8E-BBB54301AA8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048250" y="2860675"/>
            <a:ext cx="10080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774E960-8AFB-4641-9A9B-75C0916AFD9A}" type="datetime'''Con''''g''''''''''''''o'''''''''''''' ''''''D''''R''''''''C'">
              <a:rPr lang="en-US" altLang="en-US" sz="1400" smtClean="0">
                <a:cs typeface="+mn-cs"/>
              </a:rPr>
              <a:pPr/>
              <a:t>Congo DRC</a:t>
            </a:fld>
            <a:endParaRPr lang="en-US" sz="1400" dirty="0">
              <a:cs typeface="+mn-cs"/>
            </a:endParaRPr>
          </a:p>
        </p:txBody>
      </p:sp>
      <p:sp>
        <p:nvSpPr>
          <p:cNvPr id="4728" name="Text Placeholder 2">
            <a:extLst>
              <a:ext uri="{FF2B5EF4-FFF2-40B4-BE49-F238E27FC236}">
                <a16:creationId xmlns:a16="http://schemas.microsoft.com/office/drawing/2014/main" id="{B4488E3D-1024-E587-7169-A15014BC515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294313" y="3203575"/>
            <a:ext cx="51435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E7B7E38-96F1-437B-B416-4DAA0CC4E6D8}" type="datetime'''''''''Nep''''''''''''''''''''''''''''''''''a''''l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/>
              <a:t>Nepal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4725" name="Text Placeholder 2">
            <a:extLst>
              <a:ext uri="{FF2B5EF4-FFF2-40B4-BE49-F238E27FC236}">
                <a16:creationId xmlns:a16="http://schemas.microsoft.com/office/drawing/2014/main" id="{5B257F4A-0A40-7AFC-3B84-C336D6F97657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029200" y="2551113"/>
            <a:ext cx="1046163" cy="2349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124E6B7-2D65-407D-9347-ED969CDD103F}" type="datetime'''''''Cô''t''''''e'''' d''''’''''''''''''I''vo''i''r''''e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Côte d’Ivoire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464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348288" y="59118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579F42C-9276-467D-A968-3A82475B690F}" type="datetime'''''''''''''20''''''''''''''''''''''''''''2''''7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7</a:t>
            </a:fld>
            <a:endParaRPr lang="en-US" sz="1400" dirty="0">
              <a:cs typeface="+mn-cs"/>
            </a:endParaRPr>
          </a:p>
        </p:txBody>
      </p:sp>
      <p:sp>
        <p:nvSpPr>
          <p:cNvPr id="4734" name="Text Placeholder 2">
            <a:extLst>
              <a:ext uri="{FF2B5EF4-FFF2-40B4-BE49-F238E27FC236}">
                <a16:creationId xmlns:a16="http://schemas.microsoft.com/office/drawing/2014/main" id="{C1E1B473-B971-F20D-B5E9-3F04A1C59B34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024688" y="4611688"/>
            <a:ext cx="5540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A339F14-3FAE-4AA7-87EF-518A9BD96DC6}" type="datetime'''K''''''''''''''''''''''''en''''''''''''''''''ya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Kenya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4731" name="Text Placeholder 2">
            <a:extLst>
              <a:ext uri="{FF2B5EF4-FFF2-40B4-BE49-F238E27FC236}">
                <a16:creationId xmlns:a16="http://schemas.microsoft.com/office/drawing/2014/main" id="{C060CC49-8F90-E19F-9071-FCC09C4C27D5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994525" y="5359400"/>
            <a:ext cx="61277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D64EC92-5355-4868-9AF4-C0B0C2738D57}" type="datetime'''''''''N''i''ge''''''''''''''ri''''''''''a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Nigeria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4737" name="Text Placeholder 2">
            <a:extLst>
              <a:ext uri="{FF2B5EF4-FFF2-40B4-BE49-F238E27FC236}">
                <a16:creationId xmlns:a16="http://schemas.microsoft.com/office/drawing/2014/main" id="{9B1D22B5-DB7D-FDC6-4A6F-DA53EC6494E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872288" y="4029075"/>
            <a:ext cx="8588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AA40C8B-F740-45A5-ADE9-7FEDB0BA2A7C}" type="datetime'''C''''''''a''''''''''''m''b''''''od''''''''''i''''''''''a'''">
              <a:rPr lang="en-US" altLang="en-US" sz="1400" smtClean="0">
                <a:cs typeface="+mn-cs"/>
              </a:rPr>
              <a:pPr/>
              <a:t>Cambodia</a:t>
            </a:fld>
            <a:endParaRPr lang="en-US" sz="1400" dirty="0">
              <a:cs typeface="+mn-cs"/>
            </a:endParaRPr>
          </a:p>
        </p:txBody>
      </p:sp>
      <p:sp>
        <p:nvSpPr>
          <p:cNvPr id="4746" name="Text Placeholder 2">
            <a:extLst>
              <a:ext uri="{FF2B5EF4-FFF2-40B4-BE49-F238E27FC236}">
                <a16:creationId xmlns:a16="http://schemas.microsoft.com/office/drawing/2014/main" id="{D0F243D1-B5B0-CB46-28DF-AE61BA2A6B7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965951" y="3648075"/>
            <a:ext cx="6715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C5BB19A-BD91-4FF6-BB8D-4606F5CADFFD}" type="datetime'''''''''''Ug''''''''''a''''''n''''''''''''''d''''a'">
              <a:rPr lang="en-US" altLang="en-US" sz="1400" smtClean="0">
                <a:effectLst/>
                <a:cs typeface="+mn-cs"/>
              </a:rPr>
              <a:pPr/>
              <a:t>Uganda</a:t>
            </a:fld>
            <a:endParaRPr lang="en-US" sz="1400" dirty="0">
              <a:cs typeface="+mn-cs"/>
            </a:endParaRPr>
          </a:p>
        </p:txBody>
      </p:sp>
      <p:sp>
        <p:nvSpPr>
          <p:cNvPr id="4740" name="Text Placeholder 2">
            <a:extLst>
              <a:ext uri="{FF2B5EF4-FFF2-40B4-BE49-F238E27FC236}">
                <a16:creationId xmlns:a16="http://schemas.microsoft.com/office/drawing/2014/main" id="{77ADB000-CA89-AACA-E034-596CFC653BA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767512" y="2789238"/>
            <a:ext cx="1066800" cy="23495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A23B664-75B7-4B55-A601-8E3F88068CC1}" type="datetime'''''T''''anz''''''a''''''''''nia'''' U''''''R'''">
              <a:rPr lang="en-US" altLang="en-US" sz="1400" smtClean="0">
                <a:cs typeface="+mn-cs"/>
              </a:rPr>
              <a:pPr/>
              <a:t>Tanzania UR</a:t>
            </a:fld>
            <a:endParaRPr lang="en-US" sz="1400" dirty="0">
              <a:cs typeface="+mn-cs"/>
            </a:endParaRPr>
          </a:p>
        </p:txBody>
      </p:sp>
      <p:sp>
        <p:nvSpPr>
          <p:cNvPr id="4743" name="Text Placeholder 2">
            <a:extLst>
              <a:ext uri="{FF2B5EF4-FFF2-40B4-BE49-F238E27FC236}">
                <a16:creationId xmlns:a16="http://schemas.microsoft.com/office/drawing/2014/main" id="{D257DBAD-746F-AD84-A62A-3955F38DF400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797675" y="3333750"/>
            <a:ext cx="10080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57A2ED1-CF65-4EDB-991D-161D82CE6344}" type="datetime'''Con''''g''''''''''''''o'''''''''''''' ''''''D''''R''''''''C'">
              <a:rPr lang="en-US" altLang="en-US" sz="1400" smtClean="0">
                <a:cs typeface="+mn-cs"/>
              </a:rPr>
              <a:pPr/>
              <a:t>Congo DRC</a:t>
            </a:fld>
            <a:endParaRPr lang="en-US" sz="1400" dirty="0">
              <a:cs typeface="+mn-cs"/>
            </a:endParaRPr>
          </a:p>
        </p:txBody>
      </p:sp>
      <p:sp>
        <p:nvSpPr>
          <p:cNvPr id="4756" name="Text Placeholder 2">
            <a:extLst>
              <a:ext uri="{FF2B5EF4-FFF2-40B4-BE49-F238E27FC236}">
                <a16:creationId xmlns:a16="http://schemas.microsoft.com/office/drawing/2014/main" id="{C6F63E2C-08B6-B06D-4873-DCAA8B2D5D02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778625" y="2551113"/>
            <a:ext cx="1046163" cy="2349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ADC2D54-C2A9-4CF0-A116-FF91F79917F6}" type="datetime'''''''Cô''t''''''e'''' d''''’''''''''''''I''vo''i''r''''e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Côte d’Ivoire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464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097713" y="59118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A2674F2-66F2-49CF-9B15-3E1BA6DF573E}" type="datetime'''''''''''''''''20''''''''''''''''2''''''8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8</a:t>
            </a:fld>
            <a:endParaRPr lang="en-US" sz="1400" dirty="0">
              <a:cs typeface="+mn-cs"/>
            </a:endParaRPr>
          </a:p>
        </p:txBody>
      </p:sp>
      <p:sp>
        <p:nvSpPr>
          <p:cNvPr id="4767" name="Text Placeholder 2">
            <a:extLst>
              <a:ext uri="{FF2B5EF4-FFF2-40B4-BE49-F238E27FC236}">
                <a16:creationId xmlns:a16="http://schemas.microsoft.com/office/drawing/2014/main" id="{FF376C91-4A92-2B6A-3EFF-A6E67E9EDB6D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8556625" y="5119688"/>
            <a:ext cx="9874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8EF034A-3782-4387-8583-B01A44298459}" type="datetime'''B''''''''''''angl''a''''''''d''''e''''''''s''h'''">
              <a:rPr lang="en-US" altLang="en-US" sz="14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Bangladesh</a:t>
            </a:fld>
            <a:endParaRPr lang="en-US" sz="1400" dirty="0">
              <a:cs typeface="+mn-cs"/>
            </a:endParaRPr>
          </a:p>
        </p:txBody>
      </p:sp>
      <p:sp>
        <p:nvSpPr>
          <p:cNvPr id="4776" name="Text Placeholder 2">
            <a:extLst>
              <a:ext uri="{FF2B5EF4-FFF2-40B4-BE49-F238E27FC236}">
                <a16:creationId xmlns:a16="http://schemas.microsoft.com/office/drawing/2014/main" id="{79491F09-2DDE-9830-3248-62C0837E9C7D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8774113" y="3786188"/>
            <a:ext cx="5540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3999E9E-86B6-41B9-A0D0-4AF26C6DF35F}" type="datetime'''K''''''''''''''''''''''''en''''''''''''''''''ya'''''''''''''">
              <a:rPr lang="en-US" altLang="en-US" sz="1400" smtClean="0">
                <a:solidFill>
                  <a:schemeClr val="bg1"/>
                </a:solidFill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Kenya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4773" name="Text Placeholder 2">
            <a:extLst>
              <a:ext uri="{FF2B5EF4-FFF2-40B4-BE49-F238E27FC236}">
                <a16:creationId xmlns:a16="http://schemas.microsoft.com/office/drawing/2014/main" id="{AFBEADD1-21ED-9E20-1066-A75CE95BB58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8743950" y="4260850"/>
            <a:ext cx="61277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B2A56E0-9FA4-442B-8F19-3EBB7E32D60E}" type="datetime'''''''''N''i''ge''''''''''''''ri''''''''''a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Nigeria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4782" name="Text Placeholder 2">
            <a:extLst>
              <a:ext uri="{FF2B5EF4-FFF2-40B4-BE49-F238E27FC236}">
                <a16:creationId xmlns:a16="http://schemas.microsoft.com/office/drawing/2014/main" id="{1E9BED53-7A3D-0291-10BD-B361F7BC984C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8621713" y="3430588"/>
            <a:ext cx="8588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AFC8171-8BD9-4563-91B4-41328B06389D}" type="datetime'''C''''''''a''''''''''''m''b''''''od''''''''''i''''''''''a'''">
              <a:rPr lang="en-US" altLang="en-US" sz="1400" smtClean="0">
                <a:cs typeface="+mn-cs"/>
              </a:rPr>
              <a:pPr/>
              <a:t>Cambodia</a:t>
            </a:fld>
            <a:endParaRPr lang="en-US" sz="1400" dirty="0">
              <a:cs typeface="+mn-cs"/>
            </a:endParaRPr>
          </a:p>
        </p:txBody>
      </p:sp>
      <p:sp>
        <p:nvSpPr>
          <p:cNvPr id="4645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8847138" y="59118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34689A5-4E3D-49E5-B41D-57B334B8165A}" type="datetime'''''''''''''2''''''02''''''''''''''9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9</a:t>
            </a:fld>
            <a:endParaRPr lang="en-US" sz="1400" dirty="0">
              <a:cs typeface="+mn-cs"/>
            </a:endParaRPr>
          </a:p>
        </p:txBody>
      </p:sp>
      <p:sp>
        <p:nvSpPr>
          <p:cNvPr id="4770" name="Text Placeholder 2">
            <a:extLst>
              <a:ext uri="{FF2B5EF4-FFF2-40B4-BE49-F238E27FC236}">
                <a16:creationId xmlns:a16="http://schemas.microsoft.com/office/drawing/2014/main" id="{A048AE2F-4C24-0C3D-DAB9-E776F3AEECF5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0306050" y="5173663"/>
            <a:ext cx="9874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A3EE530-FEA6-44B7-A29C-7D43CAAA9DCC}" type="datetime'''B''''''''''''angl''a''''''''d''''e''''''''s''h'''">
              <a:rPr lang="en-US" altLang="en-US" sz="1400" smtClean="0">
                <a:cs typeface="+mn-cs"/>
              </a:rPr>
              <a:pPr/>
              <a:t>Bangladesh</a:t>
            </a:fld>
            <a:endParaRPr lang="en-US" sz="1400" dirty="0">
              <a:cs typeface="+mn-cs"/>
            </a:endParaRPr>
          </a:p>
        </p:txBody>
      </p:sp>
      <p:sp>
        <p:nvSpPr>
          <p:cNvPr id="4803" name="Text Placeholder 2">
            <a:extLst>
              <a:ext uri="{FF2B5EF4-FFF2-40B4-BE49-F238E27FC236}">
                <a16:creationId xmlns:a16="http://schemas.microsoft.com/office/drawing/2014/main" id="{AEF968FF-2369-3D2E-52DA-7060E943BB56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0523538" y="3929063"/>
            <a:ext cx="5540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4F8DB34-16BA-496E-A79E-D63C787BF3F6}" type="datetime'''K''''''''''''''''''''''''en''''''''''''''''''ya'''''''''''''">
              <a:rPr lang="en-US" altLang="en-US" sz="1400" smtClean="0">
                <a:solidFill>
                  <a:schemeClr val="bg1"/>
                </a:solidFill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Kenya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4800" name="Text Placeholder 2">
            <a:extLst>
              <a:ext uri="{FF2B5EF4-FFF2-40B4-BE49-F238E27FC236}">
                <a16:creationId xmlns:a16="http://schemas.microsoft.com/office/drawing/2014/main" id="{60B37F25-8466-DD1A-E7F7-8EC63F9E9B78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10493375" y="4371975"/>
            <a:ext cx="61277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67132EB-D2A2-4C90-8B11-5998AE7A7943}" type="datetime'''''''''N''i''ge''''''''''''''ri''''''''''a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Nigeria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4806" name="Text Placeholder 2">
            <a:extLst>
              <a:ext uri="{FF2B5EF4-FFF2-40B4-BE49-F238E27FC236}">
                <a16:creationId xmlns:a16="http://schemas.microsoft.com/office/drawing/2014/main" id="{D1DE068B-474C-C7A3-FDF5-7919326D675E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10371138" y="3360738"/>
            <a:ext cx="8588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33771E0-D700-4609-A63D-8B52CAA0BE14}" type="datetime'''C''''''''a''''''''''''m''b''''''od''''''''''i''''''''''a'''">
              <a:rPr lang="en-US" altLang="en-US" sz="1400" smtClean="0">
                <a:effectLst/>
                <a:cs typeface="+mn-cs"/>
              </a:rPr>
              <a:pPr/>
              <a:t>Cambodia</a:t>
            </a:fld>
            <a:endParaRPr lang="en-US" sz="1400" dirty="0">
              <a:cs typeface="+mn-cs"/>
            </a:endParaRPr>
          </a:p>
        </p:txBody>
      </p:sp>
      <p:sp>
        <p:nvSpPr>
          <p:cNvPr id="4646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0596563" y="59118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B9AF392-3274-402B-A727-E3415814F768}" type="datetime'''2''''''''''''''''0''''''''''''''''''''''''''''3''''0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30</a:t>
            </a:fld>
            <a:endParaRPr lang="en-US" sz="1400" dirty="0">
              <a:cs typeface="+mn-cs"/>
            </a:endParaRPr>
          </a:p>
        </p:txBody>
      </p:sp>
      <p:sp>
        <p:nvSpPr>
          <p:cNvPr id="331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322263" y="1101725"/>
            <a:ext cx="1714500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effectLst/>
                <a:cs typeface="+mn-cs"/>
              </a:rPr>
              <a:t>Total volume of doses</a:t>
            </a:r>
          </a:p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effectLst/>
                <a:cs typeface="+mn-cs"/>
              </a:rPr>
              <a:t>(in million)</a:t>
            </a:r>
          </a:p>
        </p:txBody>
      </p:sp>
      <p:sp>
        <p:nvSpPr>
          <p:cNvPr id="412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3654425" y="1382713"/>
            <a:ext cx="2968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C59519B-D35A-48C5-B3F1-474CEFFFC2D1}" type="datetime'''''''''''''''''''1''''''''''''''''.''''''3'''''''''''''''''''">
              <a:rPr lang="en-US" altLang="en-US" sz="1400" b="1" smtClean="0">
                <a:cs typeface="+mn-cs"/>
              </a:rPr>
              <a:pPr/>
              <a:t>1.3</a:t>
            </a:fld>
            <a:endParaRPr lang="en-US" sz="1400" b="1" dirty="0">
              <a:cs typeface="+mn-cs"/>
            </a:endParaRPr>
          </a:p>
        </p:txBody>
      </p:sp>
      <p:sp>
        <p:nvSpPr>
          <p:cNvPr id="4145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5403850" y="1382713"/>
            <a:ext cx="2968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7C395A1-032C-4723-B1BE-4276455C9213}" type="datetime'''''''''2''''''.''''''''''''''''4'''''''''">
              <a:rPr lang="en-US" altLang="en-US" sz="1400" b="1" smtClean="0">
                <a:cs typeface="+mn-cs"/>
              </a:rPr>
              <a:pPr/>
              <a:t>2.4</a:t>
            </a:fld>
            <a:endParaRPr lang="en-US" sz="1400" b="1" dirty="0">
              <a:cs typeface="+mn-cs"/>
            </a:endParaRPr>
          </a:p>
        </p:txBody>
      </p:sp>
      <p:sp>
        <p:nvSpPr>
          <p:cNvPr id="4165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7153275" y="1382713"/>
            <a:ext cx="2968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07A4A1B-06C0-4304-9976-FD86CCC476E0}" type="datetime'''''''''''4''''.''''''''''''0'''''''''''''''''''''''''''''">
              <a:rPr lang="en-US" altLang="en-US" sz="1400" b="1" smtClean="0">
                <a:cs typeface="+mn-cs"/>
              </a:rPr>
              <a:pPr/>
              <a:t>4.0</a:t>
            </a:fld>
            <a:endParaRPr lang="en-US" sz="1400" b="1" dirty="0">
              <a:cs typeface="+mn-cs"/>
            </a:endParaRPr>
          </a:p>
        </p:txBody>
      </p:sp>
      <p:sp>
        <p:nvSpPr>
          <p:cNvPr id="418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8902700" y="1382713"/>
            <a:ext cx="2968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FBD8F65-1228-4E58-847A-F3427EF49B15}" type="datetime'''''''''''''''''8''''.''''''0'''''''''''''''''''''''''''">
              <a:rPr lang="en-US" altLang="en-US" sz="1400" b="1" smtClean="0">
                <a:cs typeface="+mn-cs"/>
              </a:rPr>
              <a:pPr/>
              <a:t>8.0</a:t>
            </a:fld>
            <a:endParaRPr lang="en-US" sz="1400" b="1" dirty="0">
              <a:cs typeface="+mn-cs"/>
            </a:endParaRPr>
          </a:p>
        </p:txBody>
      </p:sp>
      <p:sp>
        <p:nvSpPr>
          <p:cNvPr id="419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10602912" y="1382713"/>
            <a:ext cx="39528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AE39223-8B23-4AFE-9AEA-9BF8C4F13102}" type="datetime'''''''''1''''0''''''''.6'''''''''''''">
              <a:rPr lang="en-US" altLang="en-US" sz="1400" b="1" smtClean="0">
                <a:cs typeface="+mn-cs"/>
              </a:rPr>
              <a:pPr/>
              <a:t>10.6</a:t>
            </a:fld>
            <a:endParaRPr lang="en-US" sz="1400" b="1" dirty="0">
              <a:cs typeface="+mn-cs"/>
            </a:endParaRPr>
          </a:p>
        </p:txBody>
      </p:sp>
      <p:sp>
        <p:nvSpPr>
          <p:cNvPr id="409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1905000" y="1382713"/>
            <a:ext cx="2968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76F3DC0-D482-4394-A0B8-1CAD8D55DE1A}" type="datetime'''''''''''''''''''''''''''''''''0''''''.''''''''5'''''">
              <a:rPr lang="en-US" altLang="en-US" sz="1400" b="1" smtClean="0">
                <a:cs typeface="+mn-cs"/>
              </a:rPr>
              <a:pPr/>
              <a:t>0.5</a:t>
            </a:fld>
            <a:endParaRPr lang="en-US" sz="1400" b="1" dirty="0">
              <a:cs typeface="+mn-cs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19D905A-2369-01BE-77C4-B3EF2CBAD859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3279775" y="2478088"/>
            <a:ext cx="1046163" cy="2349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BCE1F56-2B91-4BCB-ADBC-FCA47F4C8FA5}" type="datetime'''''''Cô''t''''''e'''' d''''’''''''''''''I''vo''i''r''''e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/>
              <a:t>Côte d’Ivoire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85273132-15E6-A2C5-E75E-1CD5A38441EF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3306763" y="2176463"/>
            <a:ext cx="5048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D896A71-976E-4636-9B73-E6BDF31D10A0}" type="datetime'''B''en''''''''''''''''i''''''''''''''''''''''n'''''''">
              <a:rPr lang="en-US" altLang="en-US" sz="1400" smtClean="0">
                <a:cs typeface="+mn-cs"/>
              </a:rPr>
              <a:pPr/>
              <a:t>Benin</a:t>
            </a:fld>
            <a:endParaRPr lang="en-US" sz="1400" dirty="0">
              <a:cs typeface="+mn-cs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FC7ABFB3-79CF-A7D5-8729-3CC95C9E1ED5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3533775" y="1997075"/>
            <a:ext cx="1025525" cy="2349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359083D-8175-4CC4-991C-5A7D5529B6F9}" type="datetime'''''M''adag''''a''''''s''''''''''c''''a''r''''''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/>
              <a:t>Madagascar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FD558AB-057C-DBB8-943F-A3342DEE6F9E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7043738" y="3055938"/>
            <a:ext cx="51435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11CD602-67A9-4010-B5A0-CEDA26F7558B}" type="datetime'''''''''Nep''''''''''''''''''''''''''''''''''a''''l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Nepal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E450201C-6D4F-A04C-5640-D209E8F3816A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10518775" y="3597275"/>
            <a:ext cx="563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89D7FC0-05B1-4CA5-B380-2EE45AAB2DE1}" type="datetime'''''''''''''''''''''''''''''''''Su''d''''a''n'''''''''''''''''">
              <a:rPr lang="en-US" altLang="en-US" sz="1400" smtClean="0">
                <a:cs typeface="+mn-cs"/>
              </a:rPr>
              <a:pPr/>
              <a:t>Sudan</a:t>
            </a:fld>
            <a:endParaRPr lang="en-US" sz="1400" dirty="0">
              <a:cs typeface="+mn-cs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3CD7FBFA-AF78-54BB-037A-362F033B1B8A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3268663" y="3394075"/>
            <a:ext cx="1066800" cy="23495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FC3F59-31FF-464E-BB96-8DE6248C3CD4}" type="datetime'''''T''''anz''''''a''''''''''nia'''' U''''''R'''">
              <a:rPr lang="en-US" altLang="en-US" sz="1400" smtClean="0">
                <a:effectLst/>
                <a:cs typeface="+mn-cs"/>
              </a:rPr>
              <a:pPr/>
              <a:t>Tanzania UR</a:t>
            </a:fld>
            <a:endParaRPr lang="en-US" sz="1400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73258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9" name="think-cell data - do not delete" hidden="1">
            <a:extLst>
              <a:ext uri="{FF2B5EF4-FFF2-40B4-BE49-F238E27FC236}">
                <a16:creationId xmlns:a16="http://schemas.microsoft.com/office/drawing/2014/main" id="{29A80758-8C5A-EDE2-8837-6DEDEB36C0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53" imgH="353" progId="TCLayout.ActiveDocument.1">
                  <p:embed/>
                </p:oleObj>
              </mc:Choice>
              <mc:Fallback>
                <p:oleObj name="think-cell Slide" r:id="rId24" imgW="353" imgH="353" progId="TCLayout.ActiveDocument.1">
                  <p:embed/>
                  <p:pic>
                    <p:nvPicPr>
                      <p:cNvPr id="52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A80758-8C5A-EDE2-8837-6DEDEB36C0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43A33C88-9307-5073-909E-924D0F0A70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890402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In Gavi 5.0, Cambodia, Tanzania and Côte d’Ivoire drive ~80% of volume while it is more fragmented in Gavi 6.0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FC0EDB23-C7ED-BEEE-3D92-B4C1D997EA10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403350" y="2119313"/>
          <a:ext cx="3567113" cy="4154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2211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663950" y="2309813"/>
            <a:ext cx="4540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FE984DE-7429-4A61-BB41-8DBF432134BF}" type="datetime'''Be''''''''n''''''''''''''''''''''''''''''''i''''''n'''''''">
              <a:rPr lang="en-US" altLang="en-US" sz="1400" smtClean="0">
                <a:cs typeface="+mn-cs"/>
              </a:rPr>
              <a:pPr/>
              <a:t>Benin</a:t>
            </a:fld>
            <a:endParaRPr lang="en-US" sz="1400" dirty="0"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441825" y="437673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38D09D6-1672-4709-9DED-B27D156FE8FF}" type="datetime'3''''''''''''''''''6''''''''''''''''''''''''''''''''''%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6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267" name="Text Placeholder 2">
            <a:extLst>
              <a:ext uri="{FF2B5EF4-FFF2-40B4-BE49-F238E27FC236}">
                <a16:creationId xmlns:a16="http://schemas.microsoft.com/office/drawing/2014/main" id="{C8FE73E9-F233-6790-F55C-CFD04F95BEC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914900" y="4452938"/>
            <a:ext cx="8080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0CB2675-B318-4FCD-AF0A-07752DA75235}" type="datetime'''C''''am''''''''''b''''''''''''''''od''''''''''''''ia'''">
              <a:rPr lang="en-US" altLang="en-US" sz="1400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Cambodia</a:t>
            </a:fld>
            <a:endParaRPr lang="en-US" sz="1400" dirty="0">
              <a:cs typeface="+mn-cs"/>
            </a:endParaRPr>
          </a:p>
        </p:txBody>
      </p:sp>
      <p:sp>
        <p:nvSpPr>
          <p:cNvPr id="252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352800" y="5578475"/>
            <a:ext cx="307975" cy="2349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DD87CC7-EA92-4EE6-9241-E6A9324B3A9B}" type="datetime'''''''''1''''''''''''''''''''''''''''''''''''''''''''''%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274" name="Text Placeholder 2">
            <a:extLst>
              <a:ext uri="{FF2B5EF4-FFF2-40B4-BE49-F238E27FC236}">
                <a16:creationId xmlns:a16="http://schemas.microsoft.com/office/drawing/2014/main" id="{43E9D543-7037-5B46-E630-EC192512217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454400" y="5891213"/>
            <a:ext cx="4238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7EC4846-9223-4EA8-9238-5B0F76D84583}" type="datetime'''''C''''''''''''had'''''''''''''''''''''''''''''''''''''''''">
              <a:rPr lang="en-US" altLang="en-US" sz="1400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Chad</a:t>
            </a:fld>
            <a:endParaRPr lang="en-US" sz="1400" dirty="0">
              <a:cs typeface="+mn-cs"/>
            </a:endParaRPr>
          </a:p>
        </p:txBody>
      </p:sp>
      <p:sp>
        <p:nvSpPr>
          <p:cNvPr id="2642" name="Text Placeholder 2">
            <a:extLst>
              <a:ext uri="{FF2B5EF4-FFF2-40B4-BE49-F238E27FC236}">
                <a16:creationId xmlns:a16="http://schemas.microsoft.com/office/drawing/2014/main" id="{F3434357-8B95-599D-D773-B8D0427A5A6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617663" y="5807075"/>
            <a:ext cx="9953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563D973E-963C-4A43-85ED-F55A2FCAE999}" type="datetime'''''''C''''''''ôte'''''' ''d’I''''v''o''i''''''''''''r''''''e'">
              <a:rPr lang="en-US" altLang="en-US" sz="1400" smtClean="0">
                <a:cs typeface="+mn-cs"/>
              </a:rPr>
              <a:pPr/>
              <a:t>Côte d’Ivoire</a:t>
            </a:fld>
            <a:endParaRPr lang="en-US" sz="1400" dirty="0">
              <a:cs typeface="+mn-cs"/>
            </a:endParaRPr>
          </a:p>
        </p:txBody>
      </p:sp>
      <p:sp>
        <p:nvSpPr>
          <p:cNvPr id="2216" name="Text Placeholder 2">
            <a:extLst>
              <a:ext uri="{FF2B5EF4-FFF2-40B4-BE49-F238E27FC236}">
                <a16:creationId xmlns:a16="http://schemas.microsoft.com/office/drawing/2014/main" id="{BA80B843-85C7-EA4C-3754-C6D8D49C27CC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11188" y="4827588"/>
            <a:ext cx="9747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A25282A6-1262-41EC-B5FA-E32752C29B4D}" type="datetime'''''M''''ad''''a''''''g''''a''''s''c''''''''''''''''a''r'''''">
              <a:rPr lang="en-US" altLang="en-US" sz="1400" smtClean="0">
                <a:cs typeface="+mn-cs"/>
              </a:rPr>
              <a:pPr/>
              <a:t>Madagascar</a:t>
            </a:fld>
            <a:endParaRPr lang="en-US" sz="1400" dirty="0">
              <a:cs typeface="+mn-cs"/>
            </a:endParaRPr>
          </a:p>
        </p:txBody>
      </p:sp>
      <p:sp>
        <p:nvSpPr>
          <p:cNvPr id="2636" name="Text Placeholder 2">
            <a:extLst>
              <a:ext uri="{FF2B5EF4-FFF2-40B4-BE49-F238E27FC236}">
                <a16:creationId xmlns:a16="http://schemas.microsoft.com/office/drawing/2014/main" id="{70453011-CA05-2EE7-C103-32DB0CAC332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135063" y="4154488"/>
            <a:ext cx="3254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4DDC4E81-2202-48FA-98D9-CEEEEB112588}" type="datetime'''''''''''''''''''''M''''''''''a''''''''''''''''l''i'">
              <a:rPr lang="en-US" altLang="en-US" sz="1400" smtClean="0">
                <a:cs typeface="+mn-cs"/>
              </a:rPr>
              <a:pPr/>
              <a:t>Mali</a:t>
            </a:fld>
            <a:endParaRPr lang="en-US" sz="1400" dirty="0">
              <a:cs typeface="+mn-cs"/>
            </a:endParaRPr>
          </a:p>
        </p:txBody>
      </p:sp>
      <p:sp>
        <p:nvSpPr>
          <p:cNvPr id="2476" name="Text Placeholder 2">
            <a:extLst>
              <a:ext uri="{FF2B5EF4-FFF2-40B4-BE49-F238E27FC236}">
                <a16:creationId xmlns:a16="http://schemas.microsoft.com/office/drawing/2014/main" id="{5BAE3962-8E87-8AD1-F5DE-49B1E1690D8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49338" y="2670175"/>
            <a:ext cx="10160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2249AB07-3C7A-4CFA-ABE0-8C3AE859BC7C}" type="datetime'''T''''a''''nz''a''''''n''''i''''''''a'''' ''''''U''''''''R'''">
              <a:rPr lang="en-US" altLang="en-US" sz="1400" smtClean="0">
                <a:cs typeface="+mn-cs"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Tanzania UR</a:t>
            </a:fld>
            <a:endParaRPr lang="en-US" sz="1400" dirty="0">
              <a:cs typeface="+mn-cs"/>
            </a:endParaRPr>
          </a:p>
        </p:txBody>
      </p:sp>
      <p:graphicFrame>
        <p:nvGraphicFramePr>
          <p:cNvPr id="2466" name="Chart 2465">
            <a:extLst>
              <a:ext uri="{FF2B5EF4-FFF2-40B4-BE49-F238E27FC236}">
                <a16:creationId xmlns:a16="http://schemas.microsoft.com/office/drawing/2014/main" id="{4BBE011C-5446-B7FC-E35B-04BA1F906E31}"/>
              </a:ext>
            </a:extLst>
          </p:cNvPr>
          <p:cNvGraphicFramePr/>
          <p:nvPr>
            <p:custDataLst>
              <p:tags r:id="rId12"/>
            </p:custDataLst>
          </p:nvPr>
        </p:nvGraphicFramePr>
        <p:xfrm>
          <a:off x="7367588" y="2119313"/>
          <a:ext cx="3541712" cy="4154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261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256838" y="2659063"/>
            <a:ext cx="4429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6DE9CD0-7C68-458C-B38A-F66D7B9B3386}" type="datetime'O''''''''t''''''''''''h''''''''''''''e''''''''''r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Other</a:t>
            </a:fld>
            <a:endParaRPr lang="en-US" sz="1400" dirty="0">
              <a:cs typeface="+mn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79D6505-1884-865D-52E4-0524006C3E4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0688638" y="4957763"/>
            <a:ext cx="9366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C359FDB-7BCA-4A50-A2B1-712DB33FB109}" type="datetime'''''''''Ba''''''n''''''g''la''''des''''h'''''''''''''''''">
              <a:rPr lang="en-US" altLang="en-US" sz="1400" smtClean="0">
                <a:cs typeface="+mn-cs"/>
              </a:rPr>
              <a:pPr/>
              <a:t>Bangladesh</a:t>
            </a:fld>
            <a:endParaRPr lang="en-US" sz="1400" dirty="0">
              <a:cs typeface="+mn-cs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1DFA102-71A3-98AB-F7BE-575E772CB95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920163" y="5910263"/>
            <a:ext cx="5032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B57F695-DB31-470F-BA0C-E30882D55F7F}" type="datetime'''''''''''''K''en''y''''''a'''''''''''''''''''''">
              <a:rPr lang="en-US" altLang="en-US" sz="1400" smtClean="0"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Kenya</a:t>
            </a:fld>
            <a:endParaRPr lang="en-US" sz="1400" dirty="0">
              <a:cs typeface="+mn-cs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8F50362-1E82-6779-DE3D-0646A3991FF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383463" y="5437188"/>
            <a:ext cx="56197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76BBFB3F-DDA8-4494-94D5-9D2FB915ED48}" type="datetime'''''''''''''''N''ig''e''''r''''''''i''''''''a'''''''''">
              <a:rPr lang="en-US" altLang="en-US" sz="1400" smtClean="0">
                <a:cs typeface="+mn-cs"/>
              </a:rPr>
              <a:pPr/>
              <a:t>Nigeria</a:t>
            </a:fld>
            <a:endParaRPr lang="en-US" sz="1400" dirty="0">
              <a:cs typeface="+mn-cs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E0E0A28-C903-1E17-96AE-71CFCDF0512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616700" y="4481513"/>
            <a:ext cx="8080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90F7D690-F769-405C-A06F-E58BAC3E846D}" type="datetime'''C''''''''''''a''''m''b''''''od''''''''''''i''''a'''''''">
              <a:rPr lang="en-US" altLang="en-US" sz="1400" smtClean="0">
                <a:cs typeface="+mn-cs"/>
              </a:rPr>
              <a:pPr/>
              <a:t>Cambodia</a:t>
            </a:fld>
            <a:endParaRPr lang="en-US" sz="1400" dirty="0">
              <a:cs typeface="+mn-cs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052C5A4C-578E-BA88-688C-4E1DE93CB52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804025" y="3694113"/>
            <a:ext cx="6207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F0944570-6868-478D-A9A5-3813B1DC2221}" type="datetime'''Uga''''''''''''''''''''''''''''''''''''nd''''''''''a'">
              <a:rPr lang="en-US" altLang="en-US" sz="1400" smtClean="0">
                <a:cs typeface="+mn-cs"/>
              </a:rPr>
              <a:pPr/>
              <a:t>Uganda</a:t>
            </a:fld>
            <a:endParaRPr lang="en-US" sz="1400" dirty="0">
              <a:cs typeface="+mn-cs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5C28CCB-3B07-F141-E0E9-AC91DC24C8F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681788" y="3094038"/>
            <a:ext cx="9572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842B6B02-E710-476B-8031-5BE31EEEC45D}" type="datetime'''''''C''on''g''''o'''''' ''''''''D''''R''''''C'''">
              <a:rPr lang="en-US" altLang="en-US" sz="1400" smtClean="0">
                <a:cs typeface="+mn-cs"/>
              </a:rPr>
              <a:pPr/>
              <a:t>Congo DRC</a:t>
            </a:fld>
            <a:endParaRPr lang="en-US" sz="1400" dirty="0">
              <a:cs typeface="+mn-cs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38B18E3-2D30-4656-BB59-7CE77A8E9EB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573963" y="2646363"/>
            <a:ext cx="46355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479B1046-8046-4C5D-A257-99D27380E1F2}" type="datetime'''''N''''e''''''''''''pa''''''l'''''''''''''''''''''">
              <a:rPr lang="en-US" altLang="en-US" sz="1400" smtClean="0">
                <a:cs typeface="+mn-cs"/>
              </a:rPr>
              <a:pPr/>
              <a:t>Nepal</a:t>
            </a:fld>
            <a:endParaRPr lang="en-US" sz="1400" dirty="0">
              <a:cs typeface="+mn-cs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E00A2EF8-9910-4EAD-6F96-6AA7DEF9C08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523163" y="2354263"/>
            <a:ext cx="10160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C08550D5-93B3-438A-9D77-A77D1F548373}" type="datetime'''''T''a''n''''''''''''''''z''''a''''''''''''''nia'' ''''''UR'">
              <a:rPr lang="en-US" altLang="en-US" sz="1400" smtClean="0">
                <a:cs typeface="+mn-cs"/>
              </a:rPr>
              <a:pPr/>
              <a:t>Tanzania UR</a:t>
            </a:fld>
            <a:endParaRPr lang="en-US" sz="1400" dirty="0">
              <a:cs typeface="+mn-cs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B799FD53-38C7-0215-A16A-0663A7C81F2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589963" y="2249488"/>
            <a:ext cx="9953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359A8A7-9C98-4598-9EA0-D9E5522AC7D5}" type="datetime'''C''''''''ô''t''''e'' ''d''''''''’Ivoir''''''''''e'">
              <a:rPr lang="en-US" altLang="en-US" sz="1400" smtClean="0">
                <a:cs typeface="+mn-cs"/>
              </a:rPr>
              <a:pPr/>
              <a:t>Côte d’Ivoire</a:t>
            </a:fld>
            <a:endParaRPr lang="en-US" sz="1400" dirty="0">
              <a:cs typeface="+mn-cs"/>
            </a:endParaRPr>
          </a:p>
        </p:txBody>
      </p:sp>
      <p:sp>
        <p:nvSpPr>
          <p:cNvPr id="2488" name="TextBox 2487">
            <a:extLst>
              <a:ext uri="{FF2B5EF4-FFF2-40B4-BE49-F238E27FC236}">
                <a16:creationId xmlns:a16="http://schemas.microsoft.com/office/drawing/2014/main" id="{E42D7DBE-AB7C-66AA-7B14-09671691F6C5}"/>
              </a:ext>
            </a:extLst>
          </p:cNvPr>
          <p:cNvSpPr txBox="1"/>
          <p:nvPr/>
        </p:nvSpPr>
        <p:spPr>
          <a:xfrm>
            <a:off x="1455738" y="1430152"/>
            <a:ext cx="345439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Gavi 5.0: 0.5M</a:t>
            </a:r>
          </a:p>
          <a:p>
            <a:pPr algn="ctr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(2025)</a:t>
            </a:r>
          </a:p>
        </p:txBody>
      </p:sp>
      <p:sp>
        <p:nvSpPr>
          <p:cNvPr id="2489" name="TextBox 2488">
            <a:extLst>
              <a:ext uri="{FF2B5EF4-FFF2-40B4-BE49-F238E27FC236}">
                <a16:creationId xmlns:a16="http://schemas.microsoft.com/office/drawing/2014/main" id="{CB5F7E87-1CEF-E7C5-8814-66BF9897C5C8}"/>
              </a:ext>
            </a:extLst>
          </p:cNvPr>
          <p:cNvSpPr txBox="1"/>
          <p:nvPr/>
        </p:nvSpPr>
        <p:spPr>
          <a:xfrm>
            <a:off x="7405689" y="1425948"/>
            <a:ext cx="345439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Gavi 6.0: 26.3M</a:t>
            </a:r>
          </a:p>
          <a:p>
            <a:pPr algn="ctr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(2026-2030)</a:t>
            </a:r>
          </a:p>
        </p:txBody>
      </p:sp>
    </p:spTree>
    <p:extLst>
      <p:ext uri="{BB962C8B-B14F-4D97-AF65-F5344CB8AC3E}">
        <p14:creationId xmlns:p14="http://schemas.microsoft.com/office/powerpoint/2010/main" val="30062044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88BACF4-897A-0B77-AF2F-5CCBDE8952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3591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8BACF4-897A-0B77-AF2F-5CCBDE8952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8423660-3977-D41A-D77D-39A7BA2E58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Vaccine introductions are phased in on a rolling schedule with 52 countries expected to receive GAVI funding by 203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0BA157-99F4-51D2-F25D-6747123F6A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18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3F9545-7A43-2812-C6BA-301EC865F2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esentation Footer</a:t>
            </a:r>
          </a:p>
        </p:txBody>
      </p:sp>
      <p:graphicFrame>
        <p:nvGraphicFramePr>
          <p:cNvPr id="416" name="Chart 415">
            <a:extLst>
              <a:ext uri="{FF2B5EF4-FFF2-40B4-BE49-F238E27FC236}">
                <a16:creationId xmlns:a16="http://schemas.microsoft.com/office/drawing/2014/main" id="{52D28DBC-7C4A-D5A2-519F-776596F2532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9716488"/>
              </p:ext>
            </p:extLst>
          </p:nvPr>
        </p:nvGraphicFramePr>
        <p:xfrm>
          <a:off x="879475" y="1535113"/>
          <a:ext cx="10661650" cy="4594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349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46125" y="5700713"/>
            <a:ext cx="984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875AF7B7-8552-4364-B689-5E70E42F156B}" type="datetime'''''''''''''''''''''''''''''''''''''''''''''''''''0'''''">
              <a:rPr lang="en-US" altLang="en-US" sz="1400" smtClean="0">
                <a:effectLst/>
                <a:cs typeface="+mn-cs"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400" dirty="0">
              <a:cs typeface="+mn-cs"/>
            </a:endParaRPr>
          </a:p>
        </p:txBody>
      </p:sp>
      <p:sp>
        <p:nvSpPr>
          <p:cNvPr id="35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46125" y="5164138"/>
            <a:ext cx="984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90AA7BE0-9A10-44B0-BC1E-0D7E4AC9CE9E}" type="datetime'1'''''''''''''''''''''''">
              <a:rPr lang="en-US" altLang="en-US" sz="1400" smtClean="0">
                <a:effectLst/>
                <a:cs typeface="+mn-cs"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z="1400" dirty="0">
              <a:cs typeface="+mn-cs"/>
            </a:endParaRPr>
          </a:p>
        </p:txBody>
      </p:sp>
      <p:sp>
        <p:nvSpPr>
          <p:cNvPr id="351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46125" y="4625975"/>
            <a:ext cx="984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B8A71F69-981E-4837-93C3-D53B81C2B154}" type="datetime'''''''''''2'''''''''''''''''''''''''''''">
              <a:rPr lang="en-US" altLang="en-US" sz="1400" smtClean="0">
                <a:effectLst/>
                <a:cs typeface="+mn-cs"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400" dirty="0">
              <a:cs typeface="+mn-cs"/>
            </a:endParaRPr>
          </a:p>
        </p:txBody>
      </p:sp>
      <p:sp>
        <p:nvSpPr>
          <p:cNvPr id="35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46125" y="4089400"/>
            <a:ext cx="984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0681034E-5B21-4D42-9766-F3D5CC12665E}" type="datetime'''''''''''''''''''''''''''''''''''3'''">
              <a:rPr lang="en-US" altLang="en-US" sz="1400" smtClean="0">
                <a:effectLst/>
                <a:cs typeface="+mn-cs"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sz="1400" dirty="0">
              <a:cs typeface="+mn-cs"/>
            </a:endParaRPr>
          </a:p>
        </p:txBody>
      </p:sp>
      <p:sp>
        <p:nvSpPr>
          <p:cNvPr id="35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46125" y="3551238"/>
            <a:ext cx="984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2546EB17-3AAE-4F6C-AE1A-BEC889545335}" type="datetime'''''''''''''''''''''''''''''''''''''''4'''''''''">
              <a:rPr lang="en-US" altLang="en-US" sz="1400" smtClean="0">
                <a:effectLst/>
                <a:cs typeface="+mn-cs"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sz="1400" dirty="0">
              <a:cs typeface="+mn-cs"/>
            </a:endParaRPr>
          </a:p>
        </p:txBody>
      </p:sp>
      <p:sp>
        <p:nvSpPr>
          <p:cNvPr id="35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46125" y="3014663"/>
            <a:ext cx="984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195DB2BF-C22E-4AE7-BFFF-DFD027D72876}" type="datetime'''''''''''''''''''''''''''''''''''''''''''''5'''''''''''">
              <a:rPr lang="en-US" altLang="en-US" sz="1400" smtClean="0">
                <a:effectLst/>
                <a:cs typeface="+mn-cs"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sz="1400" dirty="0">
              <a:cs typeface="+mn-cs"/>
            </a:endParaRPr>
          </a:p>
        </p:txBody>
      </p:sp>
      <p:sp>
        <p:nvSpPr>
          <p:cNvPr id="355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46125" y="2476500"/>
            <a:ext cx="984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9AA51C11-B56F-4EB0-8CD0-1BB461C45981}" type="datetime'''''''''''''''''''''''''''''''''''''''''''6'''''''''''''''">
              <a:rPr lang="en-US" altLang="en-US" sz="1400" smtClean="0">
                <a:effectLst/>
                <a:cs typeface="+mn-cs"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 sz="1400" dirty="0">
              <a:cs typeface="+mn-cs"/>
            </a:endParaRPr>
          </a:p>
        </p:txBody>
      </p:sp>
      <p:sp>
        <p:nvSpPr>
          <p:cNvPr id="356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46125" y="1939925"/>
            <a:ext cx="984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3A98F1C1-1B6F-4FD8-AD6A-455E93B976FD}" type="datetime'''''''''''''''''''''7'''''''''''''''''''">
              <a:rPr lang="en-US" altLang="en-US" sz="1400" smtClean="0">
                <a:effectLst/>
                <a:cs typeface="+mn-cs"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 sz="1400" dirty="0">
              <a:cs typeface="+mn-cs"/>
            </a:endParaRPr>
          </a:p>
        </p:txBody>
      </p:sp>
      <p:sp>
        <p:nvSpPr>
          <p:cNvPr id="391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1560175" y="1939925"/>
            <a:ext cx="234950" cy="3417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effectLst/>
                <a:cs typeface="+mn-cs"/>
              </a:rPr>
              <a:t>Cumulative number of country introductions</a:t>
            </a:r>
            <a:endParaRPr lang="en-US" sz="1400" dirty="0">
              <a:cs typeface="+mn-cs"/>
            </a:endParaRPr>
          </a:p>
        </p:txBody>
      </p:sp>
      <p:sp>
        <p:nvSpPr>
          <p:cNvPr id="251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68300" y="1939925"/>
            <a:ext cx="234950" cy="2816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effectLst/>
                <a:cs typeface="+mn-cs"/>
              </a:rPr>
              <a:t>Number of introductions per country</a:t>
            </a:r>
            <a:endParaRPr lang="en-US" sz="1400" dirty="0">
              <a:cs typeface="+mn-cs"/>
            </a:endParaRPr>
          </a:p>
        </p:txBody>
      </p:sp>
      <p:sp>
        <p:nvSpPr>
          <p:cNvPr id="331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216025" y="58816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433BC93-1D47-4233-A22F-6C39412F5174}" type="datetime'''''''''''''2''''''''''02''''''''''''5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</a:t>
            </a:fld>
            <a:endParaRPr lang="en-US" sz="1400" dirty="0">
              <a:cs typeface="+mn-cs"/>
            </a:endParaRPr>
          </a:p>
        </p:txBody>
      </p:sp>
      <p:sp>
        <p:nvSpPr>
          <p:cNvPr id="33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133600" y="58816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B2AB0F1-7560-4CF4-BA08-BC0289BAC660}" type="datetime'''''''''202''''''''''''''6''''''''''''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6</a:t>
            </a:fld>
            <a:endParaRPr lang="en-US" sz="1400" dirty="0">
              <a:cs typeface="+mn-cs"/>
            </a:endParaRPr>
          </a:p>
        </p:txBody>
      </p:sp>
      <p:sp>
        <p:nvSpPr>
          <p:cNvPr id="33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049588" y="58816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FAF7BC5-9E2C-4328-96B9-F441889FDAC3}" type="datetime'''''''20''''''''''''2''''''''7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7</a:t>
            </a:fld>
            <a:endParaRPr lang="en-US" sz="1400" dirty="0">
              <a:cs typeface="+mn-cs"/>
            </a:endParaRPr>
          </a:p>
        </p:txBody>
      </p:sp>
      <p:sp>
        <p:nvSpPr>
          <p:cNvPr id="335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965575" y="58816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10B8AE2-CC2F-4CB0-BF7D-725069F1405B}" type="datetime'''''''''2''02''''''''''''''''''''''''''''8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8</a:t>
            </a:fld>
            <a:endParaRPr lang="en-US" sz="1400" dirty="0">
              <a:cs typeface="+mn-cs"/>
            </a:endParaRPr>
          </a:p>
        </p:txBody>
      </p:sp>
      <p:sp>
        <p:nvSpPr>
          <p:cNvPr id="336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883150" y="58816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85E8E39-2627-4161-BC78-E391F07331A1}" type="datetime'''''''''''''2''''''''''0''''''''''''''''2''''''9''''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9</a:t>
            </a:fld>
            <a:endParaRPr lang="en-US" sz="1400" dirty="0">
              <a:cs typeface="+mn-cs"/>
            </a:endParaRPr>
          </a:p>
        </p:txBody>
      </p:sp>
      <p:sp>
        <p:nvSpPr>
          <p:cNvPr id="33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799138" y="58816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E9D7BD5-67F2-4F8D-8449-9949A9915B57}" type="datetime'''2''''''''''''''''''''''''''''''''0''''''''''''''3''''0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30</a:t>
            </a:fld>
            <a:endParaRPr lang="en-US" sz="1400" dirty="0">
              <a:cs typeface="+mn-cs"/>
            </a:endParaRPr>
          </a:p>
        </p:txBody>
      </p:sp>
      <p:sp>
        <p:nvSpPr>
          <p:cNvPr id="33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716713" y="58816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1918E2E-2493-483E-B9C1-0C461B1373B8}" type="datetime'''20''''3''''''''''''''''''''''1''''''''''''''''''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31</a:t>
            </a:fld>
            <a:endParaRPr lang="en-US" sz="1400" dirty="0">
              <a:cs typeface="+mn-cs"/>
            </a:endParaRPr>
          </a:p>
        </p:txBody>
      </p:sp>
      <p:sp>
        <p:nvSpPr>
          <p:cNvPr id="339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632700" y="58816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F8121A7-E576-40EC-ACA4-800104E7837A}" type="datetime'''''''2''''''''''03''2''''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32</a:t>
            </a:fld>
            <a:endParaRPr lang="en-US" sz="1400" dirty="0">
              <a:cs typeface="+mn-cs"/>
            </a:endParaRPr>
          </a:p>
        </p:txBody>
      </p:sp>
      <p:sp>
        <p:nvSpPr>
          <p:cNvPr id="34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548688" y="58816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3199B29-73BF-474F-AEE0-BEF69F80C351}" type="datetime'''''''''''''2''''''''''''''''''''''''''''0''33''''''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33</a:t>
            </a:fld>
            <a:endParaRPr lang="en-US" sz="1400" dirty="0">
              <a:cs typeface="+mn-cs"/>
            </a:endParaRPr>
          </a:p>
        </p:txBody>
      </p:sp>
      <p:sp>
        <p:nvSpPr>
          <p:cNvPr id="341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466263" y="58816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293DF84-D377-44FF-98A6-3CBA46718A03}" type="datetime'''''''''''''2''''''''''''''''''0''''''''''3''''''''''''4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34</a:t>
            </a:fld>
            <a:endParaRPr lang="en-US" sz="1400" dirty="0">
              <a:cs typeface="+mn-cs"/>
            </a:endParaRPr>
          </a:p>
        </p:txBody>
      </p:sp>
      <p:sp>
        <p:nvSpPr>
          <p:cNvPr id="406" name="Text Placeholder 2">
            <a:extLst>
              <a:ext uri="{FF2B5EF4-FFF2-40B4-BE49-F238E27FC236}">
                <a16:creationId xmlns:a16="http://schemas.microsoft.com/office/drawing/2014/main" id="{EC36689C-E757-BB5A-3AED-CAC5C03ED8AE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209213" y="5881688"/>
            <a:ext cx="75247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41C599F-B8A5-4A08-BBA7-BF1BFD615006}" type="datetime'''''''''U''''nk''''''''''''''''''n''''o''''''''''''''''w''n'''">
              <a:rPr lang="en-US" altLang="en-US" sz="1400" smtClean="0">
                <a:cs typeface="+mn-cs"/>
              </a:rPr>
              <a:pPr/>
              <a:t>Unknown</a:t>
            </a:fld>
            <a:endParaRPr lang="en-US" sz="1400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0476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9" name="think-cell data - do not delete" hidden="1">
            <a:extLst>
              <a:ext uri="{FF2B5EF4-FFF2-40B4-BE49-F238E27FC236}">
                <a16:creationId xmlns:a16="http://schemas.microsoft.com/office/drawing/2014/main" id="{29A80758-8C5A-EDE2-8837-6DEDEB36C0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4436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53" imgH="353" progId="TCLayout.ActiveDocument.1">
                  <p:embed/>
                </p:oleObj>
              </mc:Choice>
              <mc:Fallback>
                <p:oleObj name="think-cell Slide" r:id="rId31" imgW="353" imgH="353" progId="TCLayout.ActiveDocument.1">
                  <p:embed/>
                  <p:pic>
                    <p:nvPicPr>
                      <p:cNvPr id="52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A80758-8C5A-EDE2-8837-6DEDEB36C0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43A33C88-9307-5073-909E-924D0F0A7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Understanding the breakdown of demand from PEP population to number of doses: focus on Tanzania (2025)</a:t>
            </a:r>
          </a:p>
        </p:txBody>
      </p:sp>
      <p:cxnSp>
        <p:nvCxnSpPr>
          <p:cNvPr id="2224" name="Straight Connector 2223">
            <a:extLst>
              <a:ext uri="{FF2B5EF4-FFF2-40B4-BE49-F238E27FC236}">
                <a16:creationId xmlns:a16="http://schemas.microsoft.com/office/drawing/2014/main" id="{B6A2E4CF-E098-3933-A4F5-6B55F7F89A7C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3721101" y="3535363"/>
            <a:ext cx="798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37" name="Straight Connector 2636">
            <a:extLst>
              <a:ext uri="{FF2B5EF4-FFF2-40B4-BE49-F238E27FC236}">
                <a16:creationId xmlns:a16="http://schemas.microsoft.com/office/drawing/2014/main" id="{00A96BCB-718D-EE45-7243-D30BA6CD2FA0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5519739" y="2524125"/>
            <a:ext cx="798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37" name="Straight Connector 2236">
            <a:extLst>
              <a:ext uri="{FF2B5EF4-FFF2-40B4-BE49-F238E27FC236}">
                <a16:creationId xmlns:a16="http://schemas.microsoft.com/office/drawing/2014/main" id="{B5627B90-14B6-5D1C-1D0B-65E7F0C37195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7318375" y="2524125"/>
            <a:ext cx="8001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4" name="Straight Connector 2273">
            <a:extLst>
              <a:ext uri="{FF2B5EF4-FFF2-40B4-BE49-F238E27FC236}">
                <a16:creationId xmlns:a16="http://schemas.microsoft.com/office/drawing/2014/main" id="{986A02C3-AF43-292A-E9F2-1D819EF8B9BC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9118601" y="1766888"/>
            <a:ext cx="7985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746" name="Chart 2745">
            <a:extLst>
              <a:ext uri="{FF2B5EF4-FFF2-40B4-BE49-F238E27FC236}">
                <a16:creationId xmlns:a16="http://schemas.microsoft.com/office/drawing/2014/main" id="{B0654FD1-9849-106B-6E12-33452CCD690F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01556676"/>
              </p:ext>
            </p:extLst>
          </p:nvPr>
        </p:nvGraphicFramePr>
        <p:xfrm>
          <a:off x="439738" y="1684338"/>
          <a:ext cx="10960100" cy="3949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cxnSp>
        <p:nvCxnSpPr>
          <p:cNvPr id="2542" name="Straight Connector 2541">
            <a:extLst>
              <a:ext uri="{FF2B5EF4-FFF2-40B4-BE49-F238E27FC236}">
                <a16:creationId xmlns:a16="http://schemas.microsoft.com/office/drawing/2014/main" id="{1EAB3BD4-F4E0-AF68-7945-5143258E50A2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V="1">
            <a:off x="3221038" y="2020888"/>
            <a:ext cx="0" cy="12160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43" name="Straight Connector 2542">
            <a:extLst>
              <a:ext uri="{FF2B5EF4-FFF2-40B4-BE49-F238E27FC236}">
                <a16:creationId xmlns:a16="http://schemas.microsoft.com/office/drawing/2014/main" id="{583A9F5E-7400-6BE1-C383-F760B36A9B2F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3221038" y="2020888"/>
            <a:ext cx="35591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44" name="Straight Connector 2543">
            <a:extLst>
              <a:ext uri="{FF2B5EF4-FFF2-40B4-BE49-F238E27FC236}">
                <a16:creationId xmlns:a16="http://schemas.microsoft.com/office/drawing/2014/main" id="{44D82190-E2BB-669F-D175-1CF8B69C2DE4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6780213" y="2020888"/>
            <a:ext cx="0" cy="2047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53" name="Straight Connector 2652">
            <a:extLst>
              <a:ext uri="{FF2B5EF4-FFF2-40B4-BE49-F238E27FC236}">
                <a16:creationId xmlns:a16="http://schemas.microsoft.com/office/drawing/2014/main" id="{C5950B08-18B1-3C86-B807-8591B095DA8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V="1">
            <a:off x="6856413" y="1263651"/>
            <a:ext cx="0" cy="9620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54" name="Straight Connector 2653">
            <a:extLst>
              <a:ext uri="{FF2B5EF4-FFF2-40B4-BE49-F238E27FC236}">
                <a16:creationId xmlns:a16="http://schemas.microsoft.com/office/drawing/2014/main" id="{4B735418-5686-9C9E-9FDD-D15427DFEC84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6856414" y="1263650"/>
            <a:ext cx="35607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55" name="Straight Connector 2654">
            <a:extLst>
              <a:ext uri="{FF2B5EF4-FFF2-40B4-BE49-F238E27FC236}">
                <a16:creationId xmlns:a16="http://schemas.microsoft.com/office/drawing/2014/main" id="{FD566A49-0C1C-7681-7B4F-882A3FDB50D7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10417175" y="1263650"/>
            <a:ext cx="0" cy="2047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90" name="Text Placeholder 2">
            <a:extLst>
              <a:ext uri="{FF2B5EF4-FFF2-40B4-BE49-F238E27FC236}">
                <a16:creationId xmlns:a16="http://schemas.microsoft.com/office/drawing/2014/main" id="{710DB6F9-3043-5FC8-D89F-38EA1CAAE14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03276" y="5610225"/>
            <a:ext cx="12366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1792918-C212-4FA3-AC12-77F3B0C929C5}" type="datetime'P''''''''''EP'''' p''''''''''''''''''''opu''la''t''''ion'''">
              <a:rPr lang="en-US" altLang="en-US" sz="1400" i="1" smtClean="0">
                <a:cs typeface="+mn-cs"/>
              </a:rPr>
              <a:pPr/>
              <a:t>PEP population</a:t>
            </a:fld>
            <a:endParaRPr lang="en-US" sz="1400" i="1" dirty="0">
              <a:cs typeface="+mn-cs"/>
            </a:endParaRPr>
          </a:p>
        </p:txBody>
      </p:sp>
      <p:sp>
        <p:nvSpPr>
          <p:cNvPr id="2214" name="Text Placeholder 2">
            <a:extLst>
              <a:ext uri="{FF2B5EF4-FFF2-40B4-BE49-F238E27FC236}">
                <a16:creationId xmlns:a16="http://schemas.microsoft.com/office/drawing/2014/main" id="{BC6D6EED-7E86-CFE4-1C53-709A384AA6F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590800" y="4973638"/>
            <a:ext cx="1262063" cy="2349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2150D92-AF5C-4D00-AFA2-65D53C72E67F}" type="datetime'''''''Targe''t'' ''''1''''''st'' ''''''''d''''o''''''s''''e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Target 1st dose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239" name="Text Placeholder 2">
            <a:extLst>
              <a:ext uri="{FF2B5EF4-FFF2-40B4-BE49-F238E27FC236}">
                <a16:creationId xmlns:a16="http://schemas.microsoft.com/office/drawing/2014/main" id="{E179416C-3952-456F-8C7C-FEE62DF79F68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560638" y="4191000"/>
            <a:ext cx="1320800" cy="2349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5C9FA7C-9067-47D6-BD17-3F05B3076010}" type="datetime'T''''a''rg''''''''et ''''2nd'''''' ''''''do''s''''''e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Target 2nd dose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244" name="Text Placeholder 2">
            <a:extLst>
              <a:ext uri="{FF2B5EF4-FFF2-40B4-BE49-F238E27FC236}">
                <a16:creationId xmlns:a16="http://schemas.microsoft.com/office/drawing/2014/main" id="{B9D86867-C25A-EAE2-F767-B4C4A2E384F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581275" y="3643313"/>
            <a:ext cx="1281113" cy="2349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CEE5645-60F5-47E0-974B-4DA9D0C280A2}" type="datetime'T''''''a''''''rg''''''''''''e''t ''3rd d''o''''''''''''s''e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Target 3rd dose</a:t>
            </a:fld>
            <a:endParaRPr lang="en-US" sz="1400" dirty="0">
              <a:cs typeface="+mn-cs"/>
            </a:endParaRPr>
          </a:p>
        </p:txBody>
      </p:sp>
      <p:sp>
        <p:nvSpPr>
          <p:cNvPr id="2261" name="Text Placeholder 2">
            <a:extLst>
              <a:ext uri="{FF2B5EF4-FFF2-40B4-BE49-F238E27FC236}">
                <a16:creationId xmlns:a16="http://schemas.microsoft.com/office/drawing/2014/main" id="{73770137-8815-CAB4-8338-0BF0B1B28B4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708275" y="5610225"/>
            <a:ext cx="10271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28EFDF0-9439-4F20-8538-EA3FD0997A48}" type="datetime'''T''''''''a''''''rg''e''''''''''''t d''''''''''''''os''''es'">
              <a:rPr lang="en-US" altLang="en-US" sz="1400" smtClean="0">
                <a:cs typeface="+mn-cs"/>
              </a:rPr>
              <a:pPr/>
              <a:t>Target doses</a:t>
            </a:fld>
            <a:endParaRPr lang="en-US" sz="1400" dirty="0">
              <a:cs typeface="+mn-cs"/>
            </a:endParaRPr>
          </a:p>
        </p:txBody>
      </p:sp>
      <p:sp>
        <p:nvSpPr>
          <p:cNvPr id="2680" name="Text Placeholder 2">
            <a:extLst>
              <a:ext uri="{FF2B5EF4-FFF2-40B4-BE49-F238E27FC236}">
                <a16:creationId xmlns:a16="http://schemas.microsoft.com/office/drawing/2014/main" id="{4AD3B621-897A-28B5-059A-FF992A4BD74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648200" y="2911475"/>
            <a:ext cx="7445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8FE51AB-3965-4DDE-B97A-B13F22EEF81E}" type="datetime'''Wa''''''''''''s''''''''''t''''''ag''''''''''''''''''''''e'">
              <a:rPr lang="en-US" altLang="en-US" sz="14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Wastage</a:t>
            </a:fld>
            <a:endParaRPr lang="en-US" sz="1400" dirty="0">
              <a:cs typeface="+mn-cs"/>
            </a:endParaRPr>
          </a:p>
        </p:txBody>
      </p:sp>
      <p:sp>
        <p:nvSpPr>
          <p:cNvPr id="2698" name="Text Placeholder 2">
            <a:extLst>
              <a:ext uri="{FF2B5EF4-FFF2-40B4-BE49-F238E27FC236}">
                <a16:creationId xmlns:a16="http://schemas.microsoft.com/office/drawing/2014/main" id="{DAB1F916-33DB-1335-3EC2-B503735AE5F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358188" y="2027238"/>
            <a:ext cx="5207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D61B1E3-9697-43F9-8118-8D2D82B256F9}" type="datetime'''''Bu''''''f''''''''''''''''f''''e''''''''''''''r'''''''">
              <a:rPr lang="en-US" altLang="en-US" sz="1400" smtClean="0">
                <a:effectLst/>
                <a:cs typeface="+mn-cs"/>
              </a:rPr>
              <a:pPr/>
              <a:t>Buffer</a:t>
            </a:fld>
            <a:endParaRPr lang="en-US" sz="1400" dirty="0">
              <a:cs typeface="+mn-cs"/>
            </a:endParaRPr>
          </a:p>
        </p:txBody>
      </p:sp>
      <p:sp>
        <p:nvSpPr>
          <p:cNvPr id="2271" name="Text Placeholder 2">
            <a:extLst>
              <a:ext uri="{FF2B5EF4-FFF2-40B4-BE49-F238E27FC236}">
                <a16:creationId xmlns:a16="http://schemas.microsoft.com/office/drawing/2014/main" id="{A043C37B-0951-C0B0-32B0-5F6F9806F8FE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553575" y="5610225"/>
            <a:ext cx="17272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19316D6-5112-4AAF-BB6E-DEBD102F4ACD}" type="datetime'Tot''al'''''''''' vol''''''u''''''''me'''' of ''''do''s''es'">
              <a:rPr lang="en-US" altLang="en-US" sz="1400" smtClean="0">
                <a:cs typeface="+mn-cs"/>
              </a:rPr>
              <a:pPr/>
              <a:t>Total volume of doses</a:t>
            </a:fld>
            <a:endParaRPr lang="en-US" sz="1400" dirty="0">
              <a:cs typeface="+mn-cs"/>
            </a:endParaRPr>
          </a:p>
        </p:txBody>
      </p:sp>
      <p:sp>
        <p:nvSpPr>
          <p:cNvPr id="211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125538" y="4370388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346C710-98E0-4FB5-A648-C70401032563}" type="datetime'''''''30'''',''''''''''''''''''''''0''0''''''''''''''''''0'">
              <a:rPr lang="en-US" altLang="en-US" sz="1400" i="1" smtClean="0">
                <a:cs typeface="+mn-cs"/>
              </a:rPr>
              <a:pPr/>
              <a:t>30,000</a:t>
            </a:fld>
            <a:endParaRPr lang="en-US" sz="1400" i="1" dirty="0">
              <a:cs typeface="+mn-cs"/>
            </a:endParaRPr>
          </a:p>
        </p:txBody>
      </p:sp>
      <p:sp>
        <p:nvSpPr>
          <p:cNvPr id="2241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925763" y="3275013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29D0E6F-EBCB-4717-A4F9-DB85BDBD38DB}" type="datetime'6''''5'''''''''''''''''',''''''''''''''7''0''''''0'''''">
              <a:rPr lang="en-US" altLang="en-US" sz="1400" b="1" smtClean="0">
                <a:cs typeface="+mn-cs"/>
              </a:rPr>
              <a:pPr/>
              <a:t>65,700</a:t>
            </a:fld>
            <a:endParaRPr lang="en-US" sz="1400" b="1" dirty="0">
              <a:cs typeface="+mn-cs"/>
            </a:endParaRPr>
          </a:p>
        </p:txBody>
      </p:sp>
      <p:sp>
        <p:nvSpPr>
          <p:cNvPr id="2291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724400" y="2263775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873F81A-C25B-432C-A2F8-67D5760DE138}" type="datetime'''3''''''''''''''2'''''''''''''''''''',''''93''''''''''''9'">
              <a:rPr lang="en-US" altLang="en-US" sz="1400" b="1" smtClean="0">
                <a:cs typeface="+mn-cs"/>
              </a:rPr>
              <a:pPr/>
              <a:t>32,939</a:t>
            </a:fld>
            <a:endParaRPr lang="en-US" sz="1400" b="1" dirty="0">
              <a:cs typeface="+mn-cs"/>
            </a:endParaRPr>
          </a:p>
        </p:txBody>
      </p:sp>
      <p:sp>
        <p:nvSpPr>
          <p:cNvPr id="2634" name="Text Placeholder 2">
            <a:extLst>
              <a:ext uri="{FF2B5EF4-FFF2-40B4-BE49-F238E27FC236}">
                <a16:creationId xmlns:a16="http://schemas.microsoft.com/office/drawing/2014/main" id="{88278463-BE25-7279-54A4-D8481868281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523038" y="2263775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072EDC0-0698-46C4-8F15-E363D3CA54FC}" type="datetime'''''''''98'''''',''''''''''''''''''''''63''''9'''''''''">
              <a:rPr lang="en-US" altLang="en-US" sz="1400" b="1" smtClean="0">
                <a:cs typeface="+mn-cs"/>
              </a:rPr>
              <a:pPr/>
              <a:t>98,639</a:t>
            </a:fld>
            <a:endParaRPr lang="en-US" sz="1400" b="1" dirty="0">
              <a:cs typeface="+mn-cs"/>
            </a:endParaRPr>
          </a:p>
        </p:txBody>
      </p:sp>
      <p:sp>
        <p:nvSpPr>
          <p:cNvPr id="2293" name="Text Placeholder 2">
            <a:extLst>
              <a:ext uri="{FF2B5EF4-FFF2-40B4-BE49-F238E27FC236}">
                <a16:creationId xmlns:a16="http://schemas.microsoft.com/office/drawing/2014/main" id="{4155A93D-48BA-B5CD-9FC2-1674A29F179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323263" y="1506538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F3CC02-B324-4EB5-9983-AF2C59A82349}" type="datetime'''2''4'''',660'''''''''''''''''''''''''''''">
              <a:rPr lang="en-US" altLang="en-US" sz="1400" b="1" smtClean="0">
                <a:cs typeface="+mn-cs"/>
              </a:rPr>
              <a:pPr/>
              <a:t>24,660</a:t>
            </a:fld>
            <a:endParaRPr lang="en-US" sz="1400" b="1" dirty="0">
              <a:cs typeface="+mn-cs"/>
            </a:endParaRPr>
          </a:p>
        </p:txBody>
      </p:sp>
      <p:sp>
        <p:nvSpPr>
          <p:cNvPr id="232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0072688" y="1506538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651F017-E761-44B5-9A8C-9AF2F82F2643}" type="datetime'''1''2''''3'''',29''''''''9'''">
              <a:rPr lang="en-US" altLang="en-US" sz="1400" b="1" smtClean="0">
                <a:cs typeface="+mn-cs"/>
              </a:rPr>
              <a:pPr/>
              <a:t>123,299</a:t>
            </a:fld>
            <a:endParaRPr lang="en-US" sz="1400" b="1" dirty="0">
              <a:cs typeface="+mn-cs"/>
            </a:endParaRPr>
          </a:p>
        </p:txBody>
      </p:sp>
      <p:sp>
        <p:nvSpPr>
          <p:cNvPr id="2724" name="Text Placeholder 2">
            <a:extLst>
              <a:ext uri="{FF2B5EF4-FFF2-40B4-BE49-F238E27FC236}">
                <a16:creationId xmlns:a16="http://schemas.microsoft.com/office/drawing/2014/main" id="{D29A9872-4357-0A0E-526F-FB7A6520473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305550" y="5610225"/>
            <a:ext cx="1027113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275DB1B-209A-4807-8814-C1FECE4376E0}" type="datetime'Ta''''''''''r''get d''''ose''''''''s'''' ''+ wa''''st''age'''">
              <a:rPr lang="en-US" altLang="en-US" sz="1400" smtClean="0">
                <a:cs typeface="+mn-cs"/>
              </a:rPr>
              <a:pPr/>
              <a:t>Target doses + wastage</a:t>
            </a:fld>
            <a:endParaRPr lang="en-US" sz="1400" dirty="0">
              <a:cs typeface="+mn-cs"/>
            </a:endParaRPr>
          </a:p>
        </p:txBody>
      </p:sp>
      <p:sp>
        <p:nvSpPr>
          <p:cNvPr id="254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676775" y="1854200"/>
            <a:ext cx="649288" cy="33337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951383B-E7AE-4F82-B705-AC11CA618590}" type="datetime'''''+''5''''''0''''''''''%'''''''''''''''''''''''''''">
              <a:rPr lang="en-US" altLang="en-US" sz="1400" b="1" smtClean="0">
                <a:effectLst/>
                <a:cs typeface="+mn-cs"/>
              </a:rPr>
              <a:pPr/>
              <a:t>+50%</a:t>
            </a:fld>
            <a:endParaRPr lang="en-US" altLang="en-US" sz="1400" b="1" dirty="0">
              <a:effectLst/>
              <a:cs typeface="+mn-cs"/>
            </a:endParaRPr>
          </a:p>
        </p:txBody>
      </p:sp>
      <p:sp>
        <p:nvSpPr>
          <p:cNvPr id="2651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8312150" y="1096963"/>
            <a:ext cx="649288" cy="33337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354C18E-FE67-44BA-B964-142ED451C518}" type="datetime'+''''''''''''''''''''''''''''''''''2''''''''''5''%'''''">
              <a:rPr lang="en-US" altLang="en-US" sz="1400" b="1" smtClean="0">
                <a:effectLst/>
                <a:cs typeface="+mn-cs"/>
              </a:rPr>
              <a:pPr/>
              <a:t>+25%</a:t>
            </a:fld>
            <a:endParaRPr lang="en-US" sz="1400" b="1" dirty="0">
              <a:cs typeface="+mn-cs"/>
            </a:endParaRPr>
          </a:p>
        </p:txBody>
      </p:sp>
      <p:cxnSp>
        <p:nvCxnSpPr>
          <p:cNvPr id="2389" name="Straight Connector 2388">
            <a:extLst>
              <a:ext uri="{FF2B5EF4-FFF2-40B4-BE49-F238E27FC236}">
                <a16:creationId xmlns:a16="http://schemas.microsoft.com/office/drawing/2014/main" id="{9DF176BE-414D-8D11-3B69-3B5979C6A93E}"/>
              </a:ext>
            </a:extLst>
          </p:cNvPr>
          <p:cNvCxnSpPr>
            <a:cxnSpLocks/>
          </p:cNvCxnSpPr>
          <p:nvPr/>
        </p:nvCxnSpPr>
        <p:spPr>
          <a:xfrm>
            <a:off x="2446216" y="1975216"/>
            <a:ext cx="0" cy="4241067"/>
          </a:xfrm>
          <a:prstGeom prst="line">
            <a:avLst/>
          </a:prstGeom>
          <a:ln w="2222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41729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0738BE2-6138-D6F4-7A4D-85796CB2E2D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/>
              <a:t>Objective, process and timelin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EED4F75-3B79-AAD9-8E52-00836AE216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D520E2-CE52-A06B-BF26-EE5DABCB952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353175"/>
            <a:ext cx="261938" cy="136525"/>
          </a:xfrm>
        </p:spPr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2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8D6244-3C54-562E-FB34-9FD2CC5AC4A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53175"/>
            <a:ext cx="4114800" cy="136525"/>
          </a:xfrm>
        </p:spPr>
        <p:txBody>
          <a:bodyPr/>
          <a:lstStyle/>
          <a:p>
            <a:r>
              <a:rPr lang="en-GB"/>
              <a:t>Presentation Footer</a:t>
            </a:r>
          </a:p>
        </p:txBody>
      </p:sp>
    </p:spTree>
    <p:extLst>
      <p:ext uri="{BB962C8B-B14F-4D97-AF65-F5344CB8AC3E}">
        <p14:creationId xmlns:p14="http://schemas.microsoft.com/office/powerpoint/2010/main" val="17975385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0855538-120A-E3BF-5F03-084AC7A4B4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4014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855538-120A-E3BF-5F03-084AC7A4B4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45291AE-EA20-071C-AD5F-3A17092735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GB" dirty="0"/>
              <a:t>Base Forecast – Countries expected to apply in 202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77FD61-CC8A-DB06-DCB9-F1AE88536E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SCENARIOS AND PROGRAM PARAMETER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49D7A9-8C60-3C0B-81A3-63D9467C1A5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4452514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" name="think-cell data - do not delete" hidden="1">
            <a:extLst>
              <a:ext uri="{FF2B5EF4-FFF2-40B4-BE49-F238E27FC236}">
                <a16:creationId xmlns:a16="http://schemas.microsoft.com/office/drawing/2014/main" id="{C08E85C6-3B60-8DDB-4673-09E8B500D9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9919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0" imgW="353" imgH="353" progId="TCLayout.ActiveDocument.1">
                  <p:embed/>
                </p:oleObj>
              </mc:Choice>
              <mc:Fallback>
                <p:oleObj name="think-cell Slide" r:id="rId70" imgW="353" imgH="353" progId="TCLayout.ActiveDocument.1">
                  <p:embed/>
                  <p:pic>
                    <p:nvPicPr>
                      <p:cNvPr id="7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8E85C6-3B60-8DDB-4673-09E8B500D9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3198CF8F-B7D1-6090-3D08-B7E605AFD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Countries with an expected GAVI application in 2024 -Benin</a:t>
            </a:r>
          </a:p>
        </p:txBody>
      </p:sp>
      <p:sp>
        <p:nvSpPr>
          <p:cNvPr id="283" name="Text Placeholder 282">
            <a:extLst>
              <a:ext uri="{FF2B5EF4-FFF2-40B4-BE49-F238E27FC236}">
                <a16:creationId xmlns:a16="http://schemas.microsoft.com/office/drawing/2014/main" id="{365D413D-7501-0269-CFA3-A36577F9F1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Rabies Access status and PEP population targets</a:t>
            </a:r>
          </a:p>
        </p:txBody>
      </p:sp>
      <p:sp>
        <p:nvSpPr>
          <p:cNvPr id="284" name="Text Placeholder 283">
            <a:extLst>
              <a:ext uri="{FF2B5EF4-FFF2-40B4-BE49-F238E27FC236}">
                <a16:creationId xmlns:a16="http://schemas.microsoft.com/office/drawing/2014/main" id="{388CDE2E-E13A-67DD-491C-3786A2D0CDEB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542087" y="1708830"/>
            <a:ext cx="5133977" cy="4204608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Access status at baseline (2025): Limited</a:t>
            </a:r>
          </a:p>
        </p:txBody>
      </p:sp>
      <p:graphicFrame>
        <p:nvGraphicFramePr>
          <p:cNvPr id="367" name="Chart 366">
            <a:extLst>
              <a:ext uri="{FF2B5EF4-FFF2-40B4-BE49-F238E27FC236}">
                <a16:creationId xmlns:a16="http://schemas.microsoft.com/office/drawing/2014/main" id="{1C1A5E09-9844-DEE4-B56C-B27E2B906EB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301064"/>
              </p:ext>
            </p:extLst>
          </p:nvPr>
        </p:nvGraphicFramePr>
        <p:xfrm>
          <a:off x="808038" y="1400175"/>
          <a:ext cx="5191125" cy="4529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2"/>
          </a:graphicData>
        </a:graphic>
      </p:graphicFrame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ED8F2BC-1F33-2859-1272-2D7795356FA0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 flipH="1">
            <a:off x="2320925" y="5080000"/>
            <a:ext cx="8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9" name="Straight Connector 358">
            <a:extLst>
              <a:ext uri="{FF2B5EF4-FFF2-40B4-BE49-F238E27FC236}">
                <a16:creationId xmlns:a16="http://schemas.microsoft.com/office/drawing/2014/main" id="{D95CD3F6-C6D6-E0F5-115E-41ED50E31D0F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1484313" y="5334000"/>
            <a:ext cx="80962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353" name="Text Placeholder 2">
            <a:extLst>
              <a:ext uri="{FF2B5EF4-FFF2-40B4-BE49-F238E27FC236}">
                <a16:creationId xmlns:a16="http://schemas.microsoft.com/office/drawing/2014/main" id="{CC11DF8A-926A-3070-CFB4-218121A86BE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565275" y="5216525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BF6F2EB-B6AF-43E4-93F3-B7286D1DDB46}" type="datetime'1''''''''8''''''''''''%'''''''''''''''''''''''''''''''''''''">
              <a:rPr lang="en-US" altLang="en-US" sz="1400" smtClean="0">
                <a:effectLst/>
                <a:cs typeface="+mn-cs"/>
              </a:rPr>
              <a:pPr/>
              <a:t>18%</a:t>
            </a:fld>
            <a:endParaRPr lang="en-US" sz="1400" dirty="0">
              <a:cs typeface="+mn-cs"/>
            </a:endParaRPr>
          </a:p>
        </p:txBody>
      </p:sp>
      <p:sp>
        <p:nvSpPr>
          <p:cNvPr id="355" name="Text Placeholder 2">
            <a:extLst>
              <a:ext uri="{FF2B5EF4-FFF2-40B4-BE49-F238E27FC236}">
                <a16:creationId xmlns:a16="http://schemas.microsoft.com/office/drawing/2014/main" id="{D0A392D3-E89E-FA8C-41C6-DB89F6D5A43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106488" y="4991100"/>
            <a:ext cx="406400" cy="2349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30FC789-B1AF-4521-80C6-4AF11B197978}" type="datetime'''''''1''''''''3''%''''''''''''''''''''''''''''''''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/>
              <a:t>13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6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54025" y="2768600"/>
            <a:ext cx="234950" cy="1792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+mn-cs"/>
              </a:rPr>
              <a:t>Total number of doses </a:t>
            </a:r>
          </a:p>
        </p:txBody>
      </p:sp>
      <p:sp>
        <p:nvSpPr>
          <p:cNvPr id="356" name="Text Placeholder 2">
            <a:extLst>
              <a:ext uri="{FF2B5EF4-FFF2-40B4-BE49-F238E27FC236}">
                <a16:creationId xmlns:a16="http://schemas.microsoft.com/office/drawing/2014/main" id="{F5A86032-D73E-DCDB-D378-8FD1B4B0F81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106487" y="44005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857B637-E975-4514-AC31-80E4D7E7EDE6}" type="datetime'''''''''''''''''''''''''2''''''0''''''''''''%'''''''''''">
              <a:rPr lang="en-US" altLang="en-US" sz="1400" smtClean="0">
                <a:effectLst/>
                <a:cs typeface="+mn-cs"/>
              </a:rPr>
              <a:pPr/>
              <a:t>20%</a:t>
            </a:fld>
            <a:endParaRPr lang="en-US" sz="1400" dirty="0">
              <a:cs typeface="+mn-cs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106488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FDE5A8F-E4AE-44FD-B3A4-0B805A706C68}" type="datetime'''2''0''''''''''''''''''''''''2''''''''''''''''''5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</a:t>
            </a:fld>
            <a:endParaRPr lang="en-US" sz="1400" dirty="0">
              <a:cs typeface="+mn-cs"/>
            </a:endParaRPr>
          </a:p>
        </p:txBody>
      </p:sp>
      <p:sp>
        <p:nvSpPr>
          <p:cNvPr id="258" name="Text Placeholder 2">
            <a:extLst>
              <a:ext uri="{FF2B5EF4-FFF2-40B4-BE49-F238E27FC236}">
                <a16:creationId xmlns:a16="http://schemas.microsoft.com/office/drawing/2014/main" id="{E371C48F-2F0C-8345-4487-B04E5A00163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943100" y="544512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BF845D9-FFEE-448D-A776-BFEA6C23B5DF}" type="datetime'''''''''3''''''''''''''''''''''0''''''%'''''''''''''''''''">
              <a:rPr lang="en-US" altLang="en-US" sz="1400" smtClean="0">
                <a:cs typeface="+mn-cs"/>
              </a:rPr>
              <a:pPr/>
              <a:t>30%</a:t>
            </a:fld>
            <a:endParaRPr lang="en-US" sz="1400" dirty="0">
              <a:cs typeface="+mn-cs"/>
            </a:endParaRPr>
          </a:p>
        </p:txBody>
      </p:sp>
      <p:sp useBgFill="1">
        <p:nvSpPr>
          <p:cNvPr id="19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401888" y="4962525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1F75815-49D5-4AD8-B8E9-60B130572C1D}" type="datetime'''''''''''''''''''''''''''''''2''''''''1%'''">
              <a:rPr lang="en-US" altLang="en-US" sz="1400" smtClean="0">
                <a:effectLst/>
                <a:cs typeface="+mn-cs"/>
              </a:rPr>
              <a:pPr/>
              <a:t>21%</a:t>
            </a:fld>
            <a:endParaRPr lang="en-US" sz="1400" dirty="0">
              <a:cs typeface="+mn-cs"/>
            </a:endParaRPr>
          </a:p>
        </p:txBody>
      </p:sp>
      <p:sp>
        <p:nvSpPr>
          <p:cNvPr id="354" name="Text Placeholder 2">
            <a:extLst>
              <a:ext uri="{FF2B5EF4-FFF2-40B4-BE49-F238E27FC236}">
                <a16:creationId xmlns:a16="http://schemas.microsoft.com/office/drawing/2014/main" id="{0162E8EC-0FA6-CDE7-58D1-830FC167715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106488" y="472281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7B00FA8-A759-481E-A5B7-F4AC84E339E2}" type="datetime'''''''''''''''''''2''''4''%'''''''''''''''''''''''''''''">
              <a:rPr lang="en-US" altLang="en-US" sz="1400" smtClean="0">
                <a:cs typeface="+mn-cs"/>
              </a:rPr>
              <a:pPr/>
              <a:t>24%</a:t>
            </a:fld>
            <a:endParaRPr lang="en-US" sz="1400" dirty="0">
              <a:cs typeface="+mn-cs"/>
            </a:endParaRPr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943100" y="46243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45A31EB-F8F6-49B9-9239-9E22A08CF29F}" type="datetime'''''1''''5''''''''''''''''''''''''''%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5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943100" y="42227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D07C303-BDBB-4DDD-829B-63032284D02F}" type="datetime'''''''''''''''''''''2''''''7''''''''''''''%'''''''">
              <a:rPr lang="en-US" altLang="en-US" sz="1400" smtClean="0">
                <a:cs typeface="+mn-cs"/>
              </a:rPr>
              <a:pPr/>
              <a:t>27%</a:t>
            </a:fld>
            <a:endParaRPr lang="en-US" sz="1400" dirty="0">
              <a:cs typeface="+mn-cs"/>
            </a:endParaRPr>
          </a:p>
        </p:txBody>
      </p: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992314" y="3887788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D687E91-0BAE-42F4-B180-76FE95164854}" type="datetime'''''''''''''''''''''8''''''%'''''''''''''''''">
              <a:rPr lang="en-US" altLang="en-US" sz="1400" smtClean="0">
                <a:effectLst/>
                <a:cs typeface="+mn-cs"/>
              </a:rPr>
              <a:pPr/>
              <a:t>8%</a:t>
            </a:fld>
            <a:endParaRPr lang="en-US" sz="1400" dirty="0"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943100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3F78F12-B65A-4B5A-8E77-342297F874CF}" type="datetime'202''''6''''''''''''''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6</a:t>
            </a:fld>
            <a:endParaRPr lang="en-US" sz="1400" dirty="0">
              <a:cs typeface="+mn-cs"/>
            </a:endParaRPr>
          </a:p>
        </p:txBody>
      </p:sp>
      <p:sp>
        <p:nvSpPr>
          <p:cNvPr id="259" name="Text Placeholder 2">
            <a:extLst>
              <a:ext uri="{FF2B5EF4-FFF2-40B4-BE49-F238E27FC236}">
                <a16:creationId xmlns:a16="http://schemas.microsoft.com/office/drawing/2014/main" id="{79264A1A-DFA5-1688-8289-C8F328905D8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781300" y="535146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73B2109-F82E-433A-8ADF-BA1405A9AB33}" type="datetime'''''3''''''''''''''''''''''''''''''''0%'''''''''''''''''">
              <a:rPr lang="en-US" altLang="en-US" sz="1400" smtClean="0">
                <a:cs typeface="+mn-cs"/>
              </a:rPr>
              <a:pPr/>
              <a:t>30%</a:t>
            </a:fld>
            <a:endParaRPr lang="en-US" sz="1400" dirty="0">
              <a:cs typeface="+mn-cs"/>
            </a:endParaRPr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781300" y="470852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2C12245-F337-4C84-B5EE-4E405F61E4E2}" type="datetime'''''21''''''''''''''''''''''''''''%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1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781300" y="425767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0234177-011C-4E28-8741-A83C93CA1AB7}" type="datetime'1''''''''''''''5''''''''''''''''''''''''''''''''''''%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5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781300" y="372427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64C7491-691E-4621-8612-B6C791F122B7}" type="datetime'''''''''''''''''''''''''''''''''''''''''2''''''''''''''''8%'">
              <a:rPr lang="en-US" altLang="en-US" sz="1400" smtClean="0">
                <a:cs typeface="+mn-cs"/>
              </a:rPr>
              <a:pPr/>
              <a:t>28%</a:t>
            </a:fld>
            <a:endParaRPr lang="en-US" sz="1400" dirty="0">
              <a:cs typeface="+mn-cs"/>
            </a:endParaRPr>
          </a:p>
        </p:txBody>
      </p:sp>
      <p:sp>
        <p:nvSpPr>
          <p:cNvPr id="205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830514" y="3300413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7753CE6-E730-4B3D-B1FA-7E6474177D3F}" type="datetime'''''''6''''%'''''''''''''''''''''''''''''">
              <a:rPr lang="en-US" altLang="en-US" sz="1400" smtClean="0">
                <a:effectLst/>
                <a:cs typeface="+mn-cs"/>
              </a:rPr>
              <a:pPr/>
              <a:t>6%</a:t>
            </a:fld>
            <a:endParaRPr lang="en-US" sz="1400" dirty="0">
              <a:cs typeface="+mn-cs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781300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5252558-EE5A-4AE6-8306-A5E1F1BCDE6D}" type="datetime'2''''''''''''''''''''''0''''''''''''''''''''''2''''''7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7</a:t>
            </a:fld>
            <a:endParaRPr lang="en-US" sz="1400" dirty="0">
              <a:cs typeface="+mn-cs"/>
            </a:endParaRPr>
          </a:p>
        </p:txBody>
      </p:sp>
      <p:sp>
        <p:nvSpPr>
          <p:cNvPr id="260" name="Text Placeholder 2">
            <a:extLst>
              <a:ext uri="{FF2B5EF4-FFF2-40B4-BE49-F238E27FC236}">
                <a16:creationId xmlns:a16="http://schemas.microsoft.com/office/drawing/2014/main" id="{1F5B1F06-1801-C770-BBF9-86B4F9FB3A2E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619500" y="525621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8EF77F3-99EA-4772-9E80-E88084A95306}" type="datetime'''''''''''''''''''''''''3''1''''''''''''%'''''''''''''''">
              <a:rPr lang="en-US" altLang="en-US" sz="1400" smtClean="0">
                <a:cs typeface="+mn-cs"/>
              </a:rPr>
              <a:pPr/>
              <a:t>31%</a:t>
            </a:fld>
            <a:endParaRPr lang="en-US" sz="1400" dirty="0">
              <a:cs typeface="+mn-cs"/>
            </a:endParaRPr>
          </a:p>
        </p:txBody>
      </p:sp>
      <p:sp>
        <p:nvSpPr>
          <p:cNvPr id="20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619500" y="445293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598F56B-F6B1-45DC-ABC2-A1CE75C12FC5}" type="datetime'''''''''2''''1''''''''''''''''''''''%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1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0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619500" y="389096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CBEE762-079E-43AC-AD72-F2339F3183F2}" type="datetime'''''1''''''''''5''''''''''''''''''''%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5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619500" y="322421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056F42E-6BA3-493D-A332-54AF36EB0A2D}" type="datetime'''''''''''''''''''2''''''''''''''''8%'''''''''''''''''">
              <a:rPr lang="en-US" altLang="en-US" sz="1400" smtClean="0">
                <a:cs typeface="+mn-cs"/>
              </a:rPr>
              <a:pPr/>
              <a:t>28%</a:t>
            </a:fld>
            <a:endParaRPr lang="en-US" sz="1400" dirty="0">
              <a:cs typeface="+mn-cs"/>
            </a:endParaRPr>
          </a:p>
        </p:txBody>
      </p:sp>
      <p:sp>
        <p:nvSpPr>
          <p:cNvPr id="21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668713" y="2714625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A7B7179-CF0C-4ED9-A154-CECAF721ACF2}" type="datetime'''''''''''''''''''''''5''''''''''''''''''''''''%'''''''''">
              <a:rPr lang="en-US" altLang="en-US" sz="1400" smtClean="0">
                <a:effectLst/>
                <a:cs typeface="+mn-cs"/>
              </a:rPr>
              <a:pPr/>
              <a:t>5%</a:t>
            </a:fld>
            <a:endParaRPr lang="en-US" sz="1400" dirty="0">
              <a:cs typeface="+mn-cs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619500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3AA37C3-7349-441F-A774-28E5DDB19A28}" type="datetime'''''''''''''2''''''''''''''''''''''0''''''''2''''''8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8</a:t>
            </a:fld>
            <a:endParaRPr lang="en-US" sz="1400" dirty="0">
              <a:cs typeface="+mn-cs"/>
            </a:endParaRPr>
          </a:p>
        </p:txBody>
      </p:sp>
      <p:sp>
        <p:nvSpPr>
          <p:cNvPr id="261" name="Text Placeholder 2">
            <a:extLst>
              <a:ext uri="{FF2B5EF4-FFF2-40B4-BE49-F238E27FC236}">
                <a16:creationId xmlns:a16="http://schemas.microsoft.com/office/drawing/2014/main" id="{A0BEFF5B-FE6C-B40F-39CA-2C048AB4148E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456113" y="51625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6864717-375F-46C4-A9CE-88F227D121A3}" type="datetime'''''''''''''3''''''1''''''''%'''''''''''''''''''''''">
              <a:rPr lang="en-US" altLang="en-US" sz="1400" smtClean="0">
                <a:cs typeface="+mn-cs"/>
              </a:rPr>
              <a:pPr/>
              <a:t>31%</a:t>
            </a:fld>
            <a:endParaRPr lang="en-US" sz="1400" dirty="0">
              <a:cs typeface="+mn-cs"/>
            </a:endParaRPr>
          </a:p>
        </p:txBody>
      </p:sp>
      <p:sp>
        <p:nvSpPr>
          <p:cNvPr id="21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456113" y="419893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56E0F95-6356-45E7-88C0-E5E0AC2769A1}" type="datetime'''''''''''2''''''''''''2''''''''''''''''''''''%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2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1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456113" y="35242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7DEAC5E-92A3-4AE9-ABEC-E12700D2D37E}" type="datetime'''''''''''''1''5''''''''''''''''''''''''''''''%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5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1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456113" y="27241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59D5529-7EA9-4211-AEC4-A73A470B799F}" type="datetime'''''''''''''''''''''''''''''''''''''2''''''''8''''%'''''''''''">
              <a:rPr lang="en-US" altLang="en-US" sz="1400" smtClean="0">
                <a:cs typeface="+mn-cs"/>
              </a:rPr>
              <a:pPr/>
              <a:t>28%</a:t>
            </a:fld>
            <a:endParaRPr lang="en-US" sz="1400" dirty="0">
              <a:cs typeface="+mn-cs"/>
            </a:endParaRPr>
          </a:p>
        </p:txBody>
      </p: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505325" y="2127250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31E9C77-D5EC-48CD-8505-9E511E66E5FB}" type="datetime'4''''''''''''''''%'''''''''''''''''''''''''''">
              <a:rPr lang="en-US" altLang="en-US" sz="1400" smtClean="0">
                <a:effectLst/>
                <a:cs typeface="+mn-cs"/>
              </a:rPr>
              <a:pPr/>
              <a:t>4%</a:t>
            </a:fld>
            <a:endParaRPr lang="en-US" sz="1400" dirty="0">
              <a:cs typeface="+mn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456113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09F2011-DD0A-4416-A324-EC7BAA068A80}" type="datetime'''''''''''''''''''''''''2''''''''''''''''''''''''02''9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9</a:t>
            </a:fld>
            <a:endParaRPr lang="en-US" sz="1400" dirty="0">
              <a:cs typeface="+mn-cs"/>
            </a:endParaRPr>
          </a:p>
        </p:txBody>
      </p:sp>
      <p:sp>
        <p:nvSpPr>
          <p:cNvPr id="262" name="Text Placeholder 2">
            <a:extLst>
              <a:ext uri="{FF2B5EF4-FFF2-40B4-BE49-F238E27FC236}">
                <a16:creationId xmlns:a16="http://schemas.microsoft.com/office/drawing/2014/main" id="{AE54999C-BBB1-A50F-7807-FD1BD9CCA2F0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294313" y="50673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099552C-1C4B-4DC3-B98C-E5DA2C036749}" type="datetime'''''''3''''''1''''''''''''''''''''''''''''''''%'''''''''">
              <a:rPr lang="en-US" altLang="en-US" sz="1400" smtClean="0">
                <a:cs typeface="+mn-cs"/>
              </a:rPr>
              <a:pPr/>
              <a:t>31%</a:t>
            </a:fld>
            <a:endParaRPr lang="en-US" sz="1400" dirty="0">
              <a:cs typeface="+mn-cs"/>
            </a:endParaRPr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294313" y="39433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4AE0353-F9C3-43AC-9FD2-B9CF8CF071D3}" type="datetime'''''''''''''''''2''''''''2''''%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2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57" name="Text Placeholder 2">
            <a:extLst>
              <a:ext uri="{FF2B5EF4-FFF2-40B4-BE49-F238E27FC236}">
                <a16:creationId xmlns:a16="http://schemas.microsoft.com/office/drawing/2014/main" id="{F0A4A331-B3FF-3D20-6EAA-20E9AFF15BFE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106488" y="55387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7452253-64EA-4F70-A66C-6937E4859EEF}" type="datetime'''2''''''''''''''''''''''''6''%'''''''''''''''''''''''''''''">
              <a:rPr lang="en-US" altLang="en-US" sz="1400" smtClean="0">
                <a:cs typeface="+mn-cs"/>
              </a:rPr>
              <a:pPr/>
              <a:t>26%</a:t>
            </a:fld>
            <a:endParaRPr lang="en-US" sz="1400" dirty="0">
              <a:cs typeface="+mn-cs"/>
            </a:endParaRPr>
          </a:p>
        </p:txBody>
      </p:sp>
      <p:sp>
        <p:nvSpPr>
          <p:cNvPr id="219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5294313" y="22240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2040C10-8C48-4E0B-87E8-8E9C68C5F95E}" type="datetime'''''2''''''9''''%'''''''''''''''''">
              <a:rPr lang="en-US" altLang="en-US" sz="1400" smtClean="0">
                <a:cs typeface="+mn-cs"/>
              </a:rPr>
              <a:pPr/>
              <a:t>29%</a:t>
            </a:fld>
            <a:endParaRPr lang="en-US" sz="1400" dirty="0">
              <a:cs typeface="+mn-cs"/>
            </a:endParaRPr>
          </a:p>
        </p:txBody>
      </p:sp>
      <p:sp>
        <p:nvSpPr>
          <p:cNvPr id="22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343525" y="1541463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70CD1C7-490A-4432-A1EE-7784DC8E4EB0}" type="datetime'''''''''''''''''''''''''3''''''''''''%'''''''''''''''">
              <a:rPr lang="en-US" altLang="en-US" sz="1400" smtClean="0">
                <a:effectLst/>
                <a:cs typeface="+mn-cs"/>
              </a:rPr>
              <a:pPr/>
              <a:t>3%</a:t>
            </a:fld>
            <a:endParaRPr lang="en-US" sz="1400" dirty="0">
              <a:cs typeface="+mn-cs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5294313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F5C9FD4-B759-4D55-85A4-DB95F137E0DD}" type="datetime'2''''''''''''0''''''3''''''''''0''''''''''''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30</a:t>
            </a:fld>
            <a:endParaRPr lang="en-US" sz="1400" dirty="0">
              <a:cs typeface="+mn-cs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014412" y="4110038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06B76B6-6340-4FAE-8A17-30F6BCC87E13}" type="datetime'''''''5''''''4'',''''''''''''''''''1''''25'''''''''''">
              <a:rPr lang="en-US" altLang="en-US" sz="1400" b="1" smtClean="0">
                <a:cs typeface="+mn-cs"/>
              </a:rPr>
              <a:pPr/>
              <a:t>54,125</a:t>
            </a:fld>
            <a:endParaRPr lang="en-US" sz="1400" b="1" dirty="0">
              <a:cs typeface="+mn-cs"/>
            </a:endParaRP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5294313" y="315753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A155D2B-0E64-45D1-848A-1550E6533B81}" type="datetime'''1''''5''''''''''''''''''''''''''''%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5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2689224" y="3065463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64AB48E-E916-4A08-AB58-82F3E95A15A4}" type="datetime'''''''91,''''7''''''''''00'''''''''''''">
              <a:rPr lang="en-US" altLang="en-US" sz="1400" b="1" smtClean="0">
                <a:cs typeface="+mn-cs"/>
              </a:rPr>
              <a:pPr/>
              <a:t>91,700</a:t>
            </a:fld>
            <a:endParaRPr lang="en-US" sz="1400" b="1" dirty="0">
              <a:cs typeface="+mn-cs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3487738" y="2479675"/>
            <a:ext cx="6715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6B3F834-3CB9-4558-9EA5-C335310373C8}" type="datetime'''''''1''''''''''''''1''3'''''',2''''''''1''''''''''1'''''''''">
              <a:rPr lang="en-US" altLang="en-US" sz="1400" b="1" smtClean="0">
                <a:cs typeface="+mn-cs"/>
              </a:rPr>
              <a:pPr/>
              <a:t>113,211</a:t>
            </a:fld>
            <a:endParaRPr lang="en-US" sz="1400" b="1" dirty="0">
              <a:cs typeface="+mn-cs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4314825" y="1892300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0600AAB-E1BF-432D-9604-069AC10BCFE1}" type="datetime'''''''''''''''1''''''''''''''''''''3''''''4'',''7''''''''2''2'">
              <a:rPr lang="en-US" altLang="en-US" sz="1400" b="1" smtClean="0">
                <a:cs typeface="+mn-cs"/>
              </a:rPr>
              <a:pPr/>
              <a:t>134,722</a:t>
            </a:fld>
            <a:endParaRPr lang="en-US" sz="1400" b="1" dirty="0"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5153025" y="1306513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BAC1BDF-E87E-4449-9993-25462B0BD009}" type="datetime'''''1''''''''5''''6'''''',''''''2''''3''''2'''''''''''''''''">
              <a:rPr lang="en-US" altLang="en-US" sz="1400" b="1" smtClean="0">
                <a:cs typeface="+mn-cs"/>
              </a:rPr>
              <a:pPr/>
              <a:t>156,232</a:t>
            </a:fld>
            <a:endParaRPr lang="en-US" sz="1400" b="1" dirty="0">
              <a:cs typeface="+mn-cs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1851024" y="3652838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86FAE37-912F-4558-AE0B-035918B46679}" type="datetime'''''7''''''0,''1''''''''8''''''''''9'''''''''''''''''''''">
              <a:rPr lang="en-US" altLang="en-US" sz="1400" b="1" smtClean="0">
                <a:cs typeface="+mn-cs"/>
              </a:rPr>
              <a:pPr/>
              <a:t>70,189</a:t>
            </a:fld>
            <a:endParaRPr lang="en-US" sz="1400" b="1" dirty="0">
              <a:cs typeface="+mn-cs"/>
            </a:endParaRP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1FD5A02A-770C-EA99-3209-E931EA6FD2A6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962025" y="271780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E673BA05-40C4-FEB2-0206-647C7B206E8F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962025" y="2432050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BAF794FC-174A-A910-334D-4B32F5371CE2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962025" y="2146300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562ADE4C-66D2-D1C5-E23D-D78DC8D4997C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962025" y="1860550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EBA87D8B-39D8-98B2-241D-D21E9F88E488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962025" y="1574800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6" name="Text Placeholder 2">
            <a:extLst>
              <a:ext uri="{FF2B5EF4-FFF2-40B4-BE49-F238E27FC236}">
                <a16:creationId xmlns:a16="http://schemas.microsoft.com/office/drawing/2014/main" id="{7C34AC5C-DFFB-CE12-0B51-02EA2D78E2E8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1263650" y="2697163"/>
            <a:ext cx="126047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A299D24-147D-43CD-B47C-A9071BDC7C66}" type="datetime'Ta''''''''rg''e''''''''''t'' 1''''s''t'''''' ''''d''ose '''''">
              <a:rPr lang="en-US" altLang="en-US" sz="1400" smtClean="0">
                <a:cs typeface="+mn-cs"/>
              </a:rPr>
              <a:pPr/>
              <a:t>Target 1st dose </a:t>
            </a:fld>
            <a:endParaRPr lang="en-US" sz="1400" dirty="0">
              <a:cs typeface="+mn-cs"/>
            </a:endParaRPr>
          </a:p>
        </p:txBody>
      </p:sp>
      <p:sp>
        <p:nvSpPr>
          <p:cNvPr id="16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1263650" y="2411413"/>
            <a:ext cx="13192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AA4408E-4032-41FC-8F73-5BF48EAF8C01}" type="datetime'Ta''''''''''''''''r''g''e''''t ''''''''''2''n''d d''''os''e 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Target 2nd dose </a:t>
            </a:fld>
            <a:endParaRPr lang="en-US" sz="1400" dirty="0">
              <a:cs typeface="+mn-cs"/>
            </a:endParaRPr>
          </a:p>
        </p:txBody>
      </p:sp>
      <p:sp>
        <p:nvSpPr>
          <p:cNvPr id="169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1263650" y="2125663"/>
            <a:ext cx="12795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6481B50-B723-412A-BC04-67DBDB27123F}" type="datetime'''''T''a''r''ge''''t'''' 3''''''r''d ''''d''''o''''se'' 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Target 3rd dose </a:t>
            </a:fld>
            <a:endParaRPr lang="en-US" sz="1400" dirty="0">
              <a:cs typeface="+mn-cs"/>
            </a:endParaRPr>
          </a:p>
        </p:txBody>
      </p:sp>
      <p:sp>
        <p:nvSpPr>
          <p:cNvPr id="17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1263650" y="1839913"/>
            <a:ext cx="74295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877B5E3-8E23-4E97-8838-8281B0503D05}" type="datetime'W''''a''''''st''''''''''''a''''''''g''''''''e'' ''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Wastage </a:t>
            </a:fld>
            <a:endParaRPr lang="en-US" sz="1400" dirty="0">
              <a:cs typeface="+mn-cs"/>
            </a:endParaRPr>
          </a:p>
        </p:txBody>
      </p:sp>
      <p:sp>
        <p:nvSpPr>
          <p:cNvPr id="171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1263650" y="1554163"/>
            <a:ext cx="5191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EE4E86F-A1FC-4DE4-B396-F75F389F27F6}" type="datetime'''''''''''''''''Buffe''''''''''''''''r'''''''' 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Buffer </a:t>
            </a:fld>
            <a:endParaRPr lang="en-US" sz="1400" dirty="0">
              <a:cs typeface="+mn-cs"/>
            </a:endParaRPr>
          </a:p>
        </p:txBody>
      </p:sp>
      <p:graphicFrame>
        <p:nvGraphicFramePr>
          <p:cNvPr id="478" name="Chart 477">
            <a:extLst>
              <a:ext uri="{FF2B5EF4-FFF2-40B4-BE49-F238E27FC236}">
                <a16:creationId xmlns:a16="http://schemas.microsoft.com/office/drawing/2014/main" id="{B3574482-ABB5-4DAC-C03F-68DDF2336A7A}"/>
              </a:ext>
            </a:extLst>
          </p:cNvPr>
          <p:cNvGraphicFramePr/>
          <p:nvPr>
            <p:custDataLst>
              <p:tags r:id="rId58"/>
            </p:custDataLst>
            <p:extLst>
              <p:ext uri="{D42A27DB-BD31-4B8C-83A1-F6EECF244321}">
                <p14:modId xmlns:p14="http://schemas.microsoft.com/office/powerpoint/2010/main" val="2415668392"/>
              </p:ext>
            </p:extLst>
          </p:nvPr>
        </p:nvGraphicFramePr>
        <p:xfrm>
          <a:off x="6735763" y="2716213"/>
          <a:ext cx="4773612" cy="2524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3"/>
          </a:graphicData>
        </a:graphic>
      </p:graphicFrame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6529388" y="4595813"/>
            <a:ext cx="5794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386F1EC-C792-4D9F-A834-2DB2F926C48A}" type="datetime'13'''''''''''''',''''''''''9''''''''''1''''''''''''1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3,911</a:t>
            </a:fld>
            <a:endParaRPr lang="en-US" sz="1400" dirty="0">
              <a:cs typeface="+mn-cs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6403975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60BC499-40CB-485A-8FC5-4B57F51E6879}" type="datetime'''''''P''''EP pop''u''l''''''''at''''i''''on (Y''r'''''' 0)'''">
              <a:rPr lang="en-US" altLang="en-US" sz="1400" smtClean="0">
                <a:cs typeface="+mn-cs"/>
              </a:rPr>
              <a:pPr/>
              <a:t>PEP population (Yr 0)</a:t>
            </a:fld>
            <a:endParaRPr lang="en-US" sz="1400" dirty="0">
              <a:cs typeface="+mn-cs"/>
            </a:endParaRPr>
          </a:p>
        </p:txBody>
      </p:sp>
      <p:sp useBgFill="1">
        <p:nvSpPr>
          <p:cNvPr id="71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7675563" y="4054475"/>
            <a:ext cx="592138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D08C17C-B53F-4036-B1AB-2A6CF52FB249}" type="datetime'''''''''4''''''''8'''''''''''''''''',''''''4''''64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48,464</a:t>
            </a:fld>
            <a:endParaRPr lang="en-US" sz="1400" dirty="0">
              <a:cs typeface="+mn-cs"/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7556500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033EA4D-DE50-4778-87C2-52540FD30C92}" type="datetime'P''EP ''po''pu''l''''at''i''''o''n'' ''(Y''r'''' 5'''''''')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PEP population (Yr 5)</a:t>
            </a:fld>
            <a:endParaRPr lang="en-US" sz="1400" dirty="0">
              <a:cs typeface="+mn-cs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8778875" y="2455863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184234E-08AD-4767-BA50-1ACBC4FDFE74}" type="datetime'''''''''''''''''''''1''''''5''0'''''',''''''1''9''''''''4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50,194</a:t>
            </a:fld>
            <a:endParaRPr lang="en-US" sz="1400" dirty="0">
              <a:cs typeface="+mn-cs"/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8709025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7A89AAE-1B93-424A-9D41-56AC48969021}" type="datetime'P''''EP popu''la''''''tion'' ''(''Y''''r 1''''''''''0'')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PEP population (Yr 10)</a:t>
            </a:fld>
            <a:endParaRPr lang="en-US" sz="1400" dirty="0">
              <a:cs typeface="+mn-cs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9929813" y="2455863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96D47E4-5A28-4845-8A92-34FFFC981268}" type="datetime'1''''''5''''''0'''',''''''1''''''''''''''9''''4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50,194</a:t>
            </a:fld>
            <a:endParaRPr lang="en-US" sz="1400" dirty="0">
              <a:cs typeface="+mn-cs"/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9859963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CB3E309-762D-4DDA-A52D-D8E913510598}" type="datetime'PE''P p''o''''''''''''pul''''at''''io''n'' ''''(''''Yr 15'')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PEP population (Yr 15)</a:t>
            </a:fld>
            <a:endParaRPr lang="en-US" sz="1400" dirty="0">
              <a:cs typeface="+mn-cs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11082338" y="2455863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891F454-3C23-412B-99AD-43B49C25CA20}" type="datetime'''1''''''''''5''''''0'''''',''''''1''''''''''9''''''4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50,194</a:t>
            </a:fld>
            <a:endParaRPr lang="en-US" sz="1400" dirty="0">
              <a:cs typeface="+mn-cs"/>
            </a:endParaRP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11012488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9F5BA35-BA55-4E88-841F-B0B2FECA6431}" type="datetime'''P''E''P'''''''''''' ''popu''''la''ti''o''n (''Yr ''20'''')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PEP population (Yr 20)</a:t>
            </a:fld>
            <a:endParaRPr lang="en-US" sz="1400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76902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" name="think-cell data - do not delete" hidden="1">
            <a:extLst>
              <a:ext uri="{FF2B5EF4-FFF2-40B4-BE49-F238E27FC236}">
                <a16:creationId xmlns:a16="http://schemas.microsoft.com/office/drawing/2014/main" id="{C08E85C6-3B60-8DDB-4673-09E8B500D9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0885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4" imgW="353" imgH="353" progId="TCLayout.ActiveDocument.1">
                  <p:embed/>
                </p:oleObj>
              </mc:Choice>
              <mc:Fallback>
                <p:oleObj name="think-cell Slide" r:id="rId74" imgW="353" imgH="353" progId="TCLayout.ActiveDocument.1">
                  <p:embed/>
                  <p:pic>
                    <p:nvPicPr>
                      <p:cNvPr id="7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8E85C6-3B60-8DDB-4673-09E8B500D9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3198CF8F-B7D1-6090-3D08-B7E605AFD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Countries with an expected GAVI application in 2024 -Cambodia</a:t>
            </a:r>
          </a:p>
        </p:txBody>
      </p:sp>
      <p:sp>
        <p:nvSpPr>
          <p:cNvPr id="283" name="Text Placeholder 282">
            <a:extLst>
              <a:ext uri="{FF2B5EF4-FFF2-40B4-BE49-F238E27FC236}">
                <a16:creationId xmlns:a16="http://schemas.microsoft.com/office/drawing/2014/main" id="{365D413D-7501-0269-CFA3-A36577F9F1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Rabies Access status and PEP population targets</a:t>
            </a:r>
          </a:p>
        </p:txBody>
      </p:sp>
      <p:sp>
        <p:nvSpPr>
          <p:cNvPr id="284" name="Text Placeholder 283">
            <a:extLst>
              <a:ext uri="{FF2B5EF4-FFF2-40B4-BE49-F238E27FC236}">
                <a16:creationId xmlns:a16="http://schemas.microsoft.com/office/drawing/2014/main" id="{388CDE2E-E13A-67DD-491C-3786A2D0CDEB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333045" y="1708830"/>
            <a:ext cx="4893755" cy="4204608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Access status at baseline (2025): Limited</a:t>
            </a:r>
          </a:p>
        </p:txBody>
      </p: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2DE87B42-D2D3-D99E-9191-789FAE9E510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3342828"/>
              </p:ext>
            </p:extLst>
          </p:nvPr>
        </p:nvGraphicFramePr>
        <p:xfrm>
          <a:off x="808038" y="1400175"/>
          <a:ext cx="5191125" cy="4529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6"/>
          </a:graphicData>
        </a:graphic>
      </p:graphicFrame>
      <p:cxnSp>
        <p:nvCxnSpPr>
          <p:cNvPr id="359" name="Straight Connector 358">
            <a:extLst>
              <a:ext uri="{FF2B5EF4-FFF2-40B4-BE49-F238E27FC236}">
                <a16:creationId xmlns:a16="http://schemas.microsoft.com/office/drawing/2014/main" id="{D95CD3F6-C6D6-E0F5-115E-41ED50E31D0F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1484313" y="5191125"/>
            <a:ext cx="80963" cy="190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F5D657D3-B77E-B709-D20A-64BF6535A676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2320925" y="5184775"/>
            <a:ext cx="8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324FCFE-B4B8-62E1-A092-292C626F10C5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1484313" y="5683250"/>
            <a:ext cx="80962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ED8F2BC-1F33-2859-1272-2D7795356FA0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 flipH="1">
            <a:off x="2320925" y="4892675"/>
            <a:ext cx="8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45C7D682-C37C-6CBD-54A4-EF90C9F099A1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H="1" flipV="1">
            <a:off x="1484313" y="5405438"/>
            <a:ext cx="80963" cy="206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B0B4B2B-577F-3E34-407A-5C62434E0BC0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2320925" y="5600700"/>
            <a:ext cx="8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54025" y="2768600"/>
            <a:ext cx="234950" cy="1792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+mn-cs"/>
              </a:rPr>
              <a:t>Total number of doses </a:t>
            </a:r>
          </a:p>
        </p:txBody>
      </p:sp>
      <p:sp useBgFill="1">
        <p:nvSpPr>
          <p:cNvPr id="11" name="Text Placeholder 2">
            <a:extLst>
              <a:ext uri="{FF2B5EF4-FFF2-40B4-BE49-F238E27FC236}">
                <a16:creationId xmlns:a16="http://schemas.microsoft.com/office/drawing/2014/main" id="{04FADC78-851E-147F-A136-307C15FDE48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565275" y="5565775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222F3DF-68A6-4AF2-AFE5-5529B6C48D35}" type="datetime'''''''''''''''2''''''''''3''''''%'''''''''''">
              <a:rPr lang="en-US" altLang="en-US" sz="1400" smtClean="0">
                <a:effectLst/>
                <a:cs typeface="+mn-cs"/>
              </a:rPr>
              <a:pPr/>
              <a:t>23%</a:t>
            </a:fld>
            <a:endParaRPr lang="en-US" sz="1400" dirty="0">
              <a:cs typeface="+mn-cs"/>
            </a:endParaRPr>
          </a:p>
        </p:txBody>
      </p:sp>
      <p:sp useBgFill="1">
        <p:nvSpPr>
          <p:cNvPr id="21" name="Text Placeholder 2">
            <a:extLst>
              <a:ext uri="{FF2B5EF4-FFF2-40B4-BE49-F238E27FC236}">
                <a16:creationId xmlns:a16="http://schemas.microsoft.com/office/drawing/2014/main" id="{F811A69A-5373-4B7D-AB1C-4EA48302C04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565275" y="5308600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70A0A36-60F7-459E-9B7B-5D1ACE96F74F}" type="datetime'''''''1''''''6''''''''''''''''''''''''''%'''''''''''''''''">
              <a:rPr lang="en-US" altLang="en-US" sz="1400" smtClean="0">
                <a:effectLst/>
                <a:cs typeface="+mn-cs"/>
              </a:rPr>
              <a:pPr/>
              <a:t>16%</a:t>
            </a:fld>
            <a:endParaRPr lang="en-US" sz="1400" dirty="0">
              <a:cs typeface="+mn-cs"/>
            </a:endParaRPr>
          </a:p>
        </p:txBody>
      </p:sp>
      <p:sp>
        <p:nvSpPr>
          <p:cNvPr id="355" name="Text Placeholder 2">
            <a:extLst>
              <a:ext uri="{FF2B5EF4-FFF2-40B4-BE49-F238E27FC236}">
                <a16:creationId xmlns:a16="http://schemas.microsoft.com/office/drawing/2014/main" id="{D0A392D3-E89E-FA8C-41C6-DB89F6D5A43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106488" y="48069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9C19A08-594B-4CE6-90BB-6E9B2CF7EE79}" type="datetime'''2''''''''''''''''''''''''''''''''''9''''%'">
              <a:rPr lang="en-US" altLang="en-US" sz="1400" smtClean="0">
                <a:cs typeface="+mn-cs"/>
              </a:rPr>
              <a:pPr/>
              <a:t>29%</a:t>
            </a:fld>
            <a:endParaRPr lang="en-US" sz="1400" dirty="0">
              <a:cs typeface="+mn-cs"/>
            </a:endParaRPr>
          </a:p>
        </p:txBody>
      </p:sp>
      <p:sp>
        <p:nvSpPr>
          <p:cNvPr id="354" name="Text Placeholder 2">
            <a:extLst>
              <a:ext uri="{FF2B5EF4-FFF2-40B4-BE49-F238E27FC236}">
                <a16:creationId xmlns:a16="http://schemas.microsoft.com/office/drawing/2014/main" id="{0162E8EC-0FA6-CDE7-58D1-830FC167715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106488" y="446087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0F2559D-2578-4854-8398-43EF38715A5E}" type="datetime'''''''2''''''''''''''''''''''''''''0%'''''''''''''''''''">
              <a:rPr lang="en-US" altLang="en-US" sz="1400" smtClean="0">
                <a:cs typeface="+mn-cs"/>
              </a:rPr>
              <a:pPr/>
              <a:t>20%</a:t>
            </a:fld>
            <a:endParaRPr lang="en-US" sz="1400" dirty="0">
              <a:cs typeface="+mn-cs"/>
            </a:endParaRPr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106488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E1E6206-021F-49BE-AABF-A17818E342AA}" type="datetime'''2''0''''''''''''''''''''''''2''''''''''''''''''5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</a:t>
            </a:fld>
            <a:endParaRPr lang="en-US" sz="1400" dirty="0">
              <a:cs typeface="+mn-cs"/>
            </a:endParaRPr>
          </a:p>
        </p:txBody>
      </p:sp>
      <p:sp useBgFill="1">
        <p:nvSpPr>
          <p:cNvPr id="12" name="Text Placeholder 2">
            <a:extLst>
              <a:ext uri="{FF2B5EF4-FFF2-40B4-BE49-F238E27FC236}">
                <a16:creationId xmlns:a16="http://schemas.microsoft.com/office/drawing/2014/main" id="{38AE847D-9209-1851-41D6-C612FD7129D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401888" y="5483225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208396B-E166-46A0-83AD-7CA095484C43}" type="datetime'''''''''''''''''2''''''7%'''''''''''''''''''''''''''''''''''''">
              <a:rPr lang="en-US" altLang="en-US" sz="1400" smtClean="0">
                <a:effectLst/>
                <a:cs typeface="+mn-cs"/>
              </a:rPr>
              <a:pPr/>
              <a:t>27%</a:t>
            </a:fld>
            <a:endParaRPr lang="en-US" sz="1400" dirty="0">
              <a:cs typeface="+mn-cs"/>
            </a:endParaRPr>
          </a:p>
        </p:txBody>
      </p:sp>
      <p:sp useBgFill="1">
        <p:nvSpPr>
          <p:cNvPr id="353" name="Text Placeholder 2">
            <a:extLst>
              <a:ext uri="{FF2B5EF4-FFF2-40B4-BE49-F238E27FC236}">
                <a16:creationId xmlns:a16="http://schemas.microsoft.com/office/drawing/2014/main" id="{CC11DF8A-926A-3070-CFB4-218121A86BE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565275" y="5073650"/>
            <a:ext cx="3937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7109FCD-4941-49CD-88A9-E78545FCBE05}" type="datetime'''''''''''1''''''''''''''''''''''1''%'''''''''''''''">
              <a:rPr lang="en-US" altLang="en-US" sz="1400" smtClean="0">
                <a:effectLst/>
                <a:cs typeface="+mn-cs"/>
              </a:rPr>
              <a:pPr/>
              <a:t>11%</a:t>
            </a:fld>
            <a:endParaRPr lang="en-US" sz="1400" dirty="0">
              <a:cs typeface="+mn-cs"/>
            </a:endParaRPr>
          </a:p>
        </p:txBody>
      </p:sp>
      <p:sp useBgFill="1">
        <p:nvSpPr>
          <p:cNvPr id="24" name="Text Placeholder 2">
            <a:extLst>
              <a:ext uri="{FF2B5EF4-FFF2-40B4-BE49-F238E27FC236}">
                <a16:creationId xmlns:a16="http://schemas.microsoft.com/office/drawing/2014/main" id="{51813EC2-25D8-3901-75F5-995465A6555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401888" y="5067300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0DEC805-8864-4D79-9511-05F6B7F15451}" type="datetime'''''''''''''''''''''''''1''''''''''9''''''''''''''''''''%'''">
              <a:rPr lang="en-US" altLang="en-US" sz="1400" smtClean="0">
                <a:effectLst/>
                <a:cs typeface="+mn-cs"/>
              </a:rPr>
              <a:pPr/>
              <a:t>19%</a:t>
            </a:fld>
            <a:endParaRPr lang="en-US" sz="1400" dirty="0">
              <a:cs typeface="+mn-cs"/>
            </a:endParaRPr>
          </a:p>
        </p:txBody>
      </p:sp>
      <p:sp useBgFill="1">
        <p:nvSpPr>
          <p:cNvPr id="19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401888" y="4775200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09DDADE-008F-4C70-87AD-6348D199C9FE}" type="datetime'''''''''''''''''''''''13''''''''''''''%'''">
              <a:rPr lang="en-US" altLang="en-US" sz="1400" smtClean="0">
                <a:effectLst/>
                <a:cs typeface="+mn-cs"/>
              </a:rPr>
              <a:pPr/>
              <a:t>13%</a:t>
            </a:fld>
            <a:endParaRPr lang="en-US" sz="1400" dirty="0">
              <a:cs typeface="+mn-cs"/>
            </a:endParaRPr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943100" y="434816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4E02A48-D373-4464-BFAC-871D86F8D888}" type="datetime'''''''''''3''''''''4''%'''''''''''''''''''''">
              <a:rPr lang="en-US" altLang="en-US" sz="1400" smtClean="0">
                <a:cs typeface="+mn-cs"/>
              </a:rPr>
              <a:pPr/>
              <a:t>34%</a:t>
            </a:fld>
            <a:endParaRPr lang="en-US" sz="1400" dirty="0">
              <a:cs typeface="+mn-cs"/>
            </a:endParaRPr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992314" y="3970338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C631D09-50D7-4095-B11A-7FC2287E7C5E}" type="datetime'8''''''''''''''''''''''''%'''''''''''''''''''''''">
              <a:rPr lang="en-US" altLang="en-US" sz="1400" smtClean="0">
                <a:cs typeface="+mn-cs"/>
              </a:rPr>
              <a:pPr/>
              <a:t>8%</a:t>
            </a:fld>
            <a:endParaRPr lang="en-US" sz="1400" dirty="0">
              <a:cs typeface="+mn-cs"/>
            </a:endParaRPr>
          </a:p>
        </p:txBody>
      </p:sp>
      <p:sp>
        <p:nvSpPr>
          <p:cNvPr id="27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943100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6060FC5-440A-415B-AA2D-B98419A97FF4}" type="datetime'202''''6''''''''''''''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6</a:t>
            </a:fld>
            <a:endParaRPr lang="en-US" sz="1400" dirty="0">
              <a:cs typeface="+mn-cs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0982A1-0273-5577-BC8D-4C3A22E0F06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781300" y="540226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274A7C2-A5FC-4FBE-B7C6-0E2F7EAC5D83}" type="datetime'''''2''''''''''7''''''''''''''''''%'''''''''">
              <a:rPr lang="en-US" altLang="en-US" sz="1400" smtClean="0">
                <a:cs typeface="+mn-cs"/>
              </a:rPr>
              <a:pPr/>
              <a:t>27%</a:t>
            </a:fld>
            <a:endParaRPr lang="en-US" sz="1400" dirty="0">
              <a:cs typeface="+mn-cs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72DD424-9116-FBFC-0923-03C27A491A70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781300" y="484822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93E522B-ABCA-447A-9FD6-4D175742E8A4}" type="datetime'''''''''''''''1''''''''''''''''''9''''''''''''%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9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781300" y="44592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24BD98-F658-44DB-8D35-5F40F3221465}" type="datetime'''''1''''''''''''''''''''''''''3''%''''''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3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781300" y="389096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4EAA544-C07A-4C6B-B14F-A2539B08F772}" type="datetime'''3''''''''''4''''''''''''%'''''''''''''''''''''''">
              <a:rPr lang="en-US" altLang="en-US" sz="1400" smtClean="0">
                <a:cs typeface="+mn-cs"/>
              </a:rPr>
              <a:pPr/>
              <a:t>34%</a:t>
            </a:fld>
            <a:endParaRPr lang="en-US" sz="1400" dirty="0">
              <a:cs typeface="+mn-cs"/>
            </a:endParaRPr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830514" y="3411538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752AC0B-1ECF-48CF-828B-BDB92FEC23AC}" type="datetime'''''''6''''''''''''''''''''''''''''''''''%'''''">
              <a:rPr lang="en-US" altLang="en-US" sz="1400" smtClean="0">
                <a:cs typeface="+mn-cs"/>
              </a:rPr>
              <a:pPr/>
              <a:t>6%</a:t>
            </a:fld>
            <a:endParaRPr lang="en-US" sz="1400" dirty="0">
              <a:cs typeface="+mn-cs"/>
            </a:endParaRPr>
          </a:p>
        </p:txBody>
      </p:sp>
      <p:sp>
        <p:nvSpPr>
          <p:cNvPr id="27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781300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F47A7F9-114B-4EB1-B933-DF04DAA764A1}" type="datetime'2''''''''''''''''''''''0''''''''''''''''''''''2''''''7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7</a:t>
            </a:fld>
            <a:endParaRPr lang="en-US" sz="1400" dirty="0">
              <a:cs typeface="+mn-cs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ADDFE70-592C-22F2-DFDB-867CB939D76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619500" y="53213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6833509-A5A8-40B2-806A-484E51C02B54}" type="datetime'''2''''8''''%'''''''''''''''''''''''''''''''">
              <a:rPr lang="en-US" altLang="en-US" sz="1400" smtClean="0">
                <a:cs typeface="+mn-cs"/>
              </a:rPr>
              <a:pPr/>
              <a:t>28%</a:t>
            </a:fld>
            <a:endParaRPr lang="en-US" sz="1400" dirty="0">
              <a:cs typeface="+mn-cs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FB169E6-B4B4-69C8-A959-2A57E21575C8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619500" y="46291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141F21D-C9B1-4BCA-B158-6428C56F8EB7}" type="datetime'''''''''1''''''''''''9''''''''''''''''''''''''''''%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9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0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619500" y="414337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10223EE-349F-4923-9D71-F27FA6E3E04F}" type="datetime'''''''''''''''1''''''''''''''''''4%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4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0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619500" y="343217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21BB813-E27D-4422-BC42-151EB59B0D6D}" type="datetime'''''''''''''''''''''''''35''''%'''''''''''''''''''''">
              <a:rPr lang="en-US" altLang="en-US" sz="1400" smtClean="0">
                <a:cs typeface="+mn-cs"/>
              </a:rPr>
              <a:pPr/>
              <a:t>35%</a:t>
            </a:fld>
            <a:endParaRPr lang="en-US" sz="1400" dirty="0">
              <a:cs typeface="+mn-cs"/>
            </a:endParaRPr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3668714" y="2851150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DC19EE9-C2FF-4C9D-AC62-0EFDB780556E}" type="datetime'''''''''''''''''''''''''''''''5''''%'''''''''''''''''''''''''">
              <a:rPr lang="en-US" altLang="en-US" sz="1400" smtClean="0">
                <a:cs typeface="+mn-cs"/>
              </a:rPr>
              <a:pPr/>
              <a:t>5%</a:t>
            </a:fld>
            <a:endParaRPr lang="en-US" sz="1400" dirty="0">
              <a:cs typeface="+mn-cs"/>
            </a:endParaRPr>
          </a:p>
        </p:txBody>
      </p:sp>
      <p:sp>
        <p:nvSpPr>
          <p:cNvPr id="279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619500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837169C-54A3-48FB-B9B3-4A43D97BE2BB}" type="datetime'''''''''''''2''''''''''''''''''''''0''''''''2''''''8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8</a:t>
            </a:fld>
            <a:endParaRPr lang="en-US" sz="1400" dirty="0">
              <a:cs typeface="+mn-cs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EC1D386-8BAB-24DA-E962-EAADF6A88A4B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456113" y="524033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5500709-B6A6-44F2-82D4-75E20DC69189}" type="datetime'2''8''''''''%'''''''''''''''''''''''''''''">
              <a:rPr lang="en-US" altLang="en-US" sz="1400" smtClean="0">
                <a:cs typeface="+mn-cs"/>
              </a:rPr>
              <a:pPr/>
              <a:t>28%</a:t>
            </a:fld>
            <a:endParaRPr lang="en-US" sz="1400" dirty="0">
              <a:cs typeface="+mn-cs"/>
            </a:endParaRPr>
          </a:p>
        </p:txBody>
      </p:sp>
      <p:sp>
        <p:nvSpPr>
          <p:cNvPr id="257" name="Text Placeholder 2">
            <a:extLst>
              <a:ext uri="{FF2B5EF4-FFF2-40B4-BE49-F238E27FC236}">
                <a16:creationId xmlns:a16="http://schemas.microsoft.com/office/drawing/2014/main" id="{1D25E232-17E8-B0AD-C148-E5CCA3CEBC45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456113" y="44084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AD0BFBB-D84E-4567-81BF-E2C2BF1A0AA3}" type="datetime'''''''''''''''''''''''''''''''''''2''''''0''''''''''''''%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0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1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456113" y="382746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0A2E0C1-B5E2-48BB-BB18-431C60332929}" type="datetime'''''''''''1''''''''''''''''4''''''''%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4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1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4456113" y="29733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9056858-E8C3-4742-BC55-0A25061AAE79}" type="datetime'''''''''''''''''''''''''''''3''5''''''''''''''%'''">
              <a:rPr lang="en-US" altLang="en-US" sz="1400" smtClean="0">
                <a:cs typeface="+mn-cs"/>
              </a:rPr>
              <a:pPr/>
              <a:t>35%</a:t>
            </a:fld>
            <a:endParaRPr lang="en-US" sz="1400" dirty="0">
              <a:cs typeface="+mn-cs"/>
            </a:endParaRPr>
          </a:p>
        </p:txBody>
      </p:sp>
      <p:sp>
        <p:nvSpPr>
          <p:cNvPr id="21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505326" y="2290763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1935BD3-C47B-4B47-AEB0-3B48BB751EB2}" type="datetime'''''''''''''''''''''''''''''''''''''4%'''''''''">
              <a:rPr lang="en-US" altLang="en-US" sz="1400" smtClean="0">
                <a:cs typeface="+mn-cs"/>
              </a:rPr>
              <a:pPr/>
              <a:t>4%</a:t>
            </a:fld>
            <a:endParaRPr lang="en-US" sz="1400" dirty="0">
              <a:cs typeface="+mn-cs"/>
            </a:endParaRPr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4456113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30E2292-4CDE-4080-A0A2-2DCDE4A63555}" type="datetime'''''''''''''''''''''''''2''''''''''''''''''''''''02''9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9</a:t>
            </a:fld>
            <a:endParaRPr lang="en-US" sz="1400" dirty="0">
              <a:cs typeface="+mn-cs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6C74D20-AE42-EA0C-DF52-ABE991EC81A3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294313" y="515937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5420E3-C1DC-4C6A-8F2C-451B6C872A04}" type="datetime'''2''''''''''''''''8''''''''%'''''''''''''''''''">
              <a:rPr lang="en-US" altLang="en-US" sz="1400" smtClean="0">
                <a:cs typeface="+mn-cs"/>
              </a:rPr>
              <a:pPr/>
              <a:t>28%</a:t>
            </a:fld>
            <a:endParaRPr lang="en-US" sz="1400" dirty="0">
              <a:cs typeface="+mn-cs"/>
            </a:endParaRPr>
          </a:p>
        </p:txBody>
      </p:sp>
      <p:sp>
        <p:nvSpPr>
          <p:cNvPr id="264" name="Text Placeholder 2">
            <a:extLst>
              <a:ext uri="{FF2B5EF4-FFF2-40B4-BE49-F238E27FC236}">
                <a16:creationId xmlns:a16="http://schemas.microsoft.com/office/drawing/2014/main" id="{F6272AEB-C3E6-4741-3184-380DFC4425B7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5294313" y="418941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C7BD7F2-8F9A-475C-84D9-9331FBE61DF2}" type="datetime'2''''''''''''''''''0''''''''''%''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0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5294313" y="35115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68B1D16-05C9-4789-B349-C90BBC4C6422}" type="datetime'''''''''''1''''''''''''''''''4''''''%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4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5294313" y="25161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CBBE15E-6917-45C4-BF70-185DF9FD4891}" type="datetime'''''''''3''''''''''''5''''''''''''%'''''">
              <a:rPr lang="en-US" altLang="en-US" sz="1400" smtClean="0">
                <a:cs typeface="+mn-cs"/>
              </a:rPr>
              <a:pPr/>
              <a:t>35%</a:t>
            </a:fld>
            <a:endParaRPr lang="en-US" sz="1400" dirty="0">
              <a:cs typeface="+mn-cs"/>
            </a:endParaRPr>
          </a:p>
        </p:txBody>
      </p:sp>
      <p:sp>
        <p:nvSpPr>
          <p:cNvPr id="219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343526" y="1730375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7D2AFE8-6867-4727-AC68-519770F09CA8}" type="datetime'''''''3''''''''''''''''''''''%'''''''''''''''''''">
              <a:rPr lang="en-US" altLang="en-US" sz="1400" smtClean="0">
                <a:cs typeface="+mn-cs"/>
              </a:rPr>
              <a:pPr/>
              <a:t>3%</a:t>
            </a:fld>
            <a:endParaRPr lang="en-US" sz="1400" dirty="0">
              <a:cs typeface="+mn-cs"/>
            </a:endParaRPr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5294313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DAC84FB-9A81-4143-940A-3C443DA54912}" type="datetime'2''''''''''''0''''''3''''''''''0''''''''''''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30</a:t>
            </a:fld>
            <a:endParaRPr lang="en-US" sz="1400" dirty="0">
              <a:cs typeface="+mn-cs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965200" y="4176713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EA4F898-33C2-4077-BEA4-73E9C664DDEA}" type="datetime'''''''''''''''1''''''''''''''''9''3'''',82''''0'''''''''''''">
              <a:rPr lang="en-US" altLang="en-US" sz="1400" b="1" smtClean="0">
                <a:cs typeface="+mn-cs"/>
              </a:rPr>
              <a:pPr/>
              <a:t>193,820</a:t>
            </a:fld>
            <a:endParaRPr lang="en-US" sz="1400" b="1" dirty="0">
              <a:cs typeface="+mn-cs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1801813" y="3735388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4158058-82B4-4050-ABB5-159F9273E434}" type="datetime'''''''''25''1,''3''''''''''''''''''''''4''''''''''''3'">
              <a:rPr lang="en-US" altLang="en-US" sz="1400" b="1" smtClean="0">
                <a:cs typeface="+mn-cs"/>
              </a:rPr>
              <a:pPr/>
              <a:t>251,343</a:t>
            </a:fld>
            <a:endParaRPr lang="en-US" sz="1400" b="1" dirty="0">
              <a:cs typeface="+mn-cs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2640013" y="3176588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CB3734D-F91C-41A4-95F3-FE788A8262FA}" type="datetime'32''''''8'''''',''''''''''3''''''''''''''7''2'''''''''''''">
              <a:rPr lang="en-US" altLang="en-US" sz="1400" b="1" smtClean="0">
                <a:cs typeface="+mn-cs"/>
              </a:rPr>
              <a:pPr/>
              <a:t>328,372</a:t>
            </a:fld>
            <a:endParaRPr lang="en-US" sz="1400" b="1" dirty="0">
              <a:cs typeface="+mn-cs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3478213" y="2616200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BB3273E-D789-4CBA-9889-FB144AEF3C37}" type="datetime'40''''''''5'''''',4''''''''''''''''''''''''''0''''1'''''''''''">
              <a:rPr lang="en-US" altLang="en-US" sz="1400" b="1" smtClean="0">
                <a:cs typeface="+mn-cs"/>
              </a:rPr>
              <a:pPr/>
              <a:t>405,401</a:t>
            </a:fld>
            <a:endParaRPr lang="en-US" sz="1400" b="1" dirty="0">
              <a:cs typeface="+mn-cs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4314825" y="2055813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FA0CB05-BE32-4900-BBCE-DD32D92B90CB}" type="datetime'4''''8''''''''''''''''''2,4''3''''''1'''''''''''''''''''''''">
              <a:rPr lang="en-US" altLang="en-US" sz="1400" b="1" smtClean="0">
                <a:cs typeface="+mn-cs"/>
              </a:rPr>
              <a:pPr/>
              <a:t>482,431</a:t>
            </a:fld>
            <a:endParaRPr lang="en-US" sz="1400" b="1" dirty="0"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5153025" y="1495425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6582327-AC8E-4FFF-B416-B5A4EF386AFA}" type="datetime'5''5''''9'''''''''''''',''''4''''''6''0'''''''''''">
              <a:rPr lang="en-US" altLang="en-US" sz="1400" b="1" smtClean="0">
                <a:cs typeface="+mn-cs"/>
              </a:rPr>
              <a:pPr/>
              <a:t>559,460</a:t>
            </a:fld>
            <a:endParaRPr lang="en-US" sz="1400" b="1" dirty="0">
              <a:cs typeface="+mn-cs"/>
            </a:endParaRPr>
          </a:p>
        </p:txBody>
      </p:sp>
      <p:graphicFrame>
        <p:nvGraphicFramePr>
          <p:cNvPr id="89" name="Chart 88">
            <a:extLst>
              <a:ext uri="{FF2B5EF4-FFF2-40B4-BE49-F238E27FC236}">
                <a16:creationId xmlns:a16="http://schemas.microsoft.com/office/drawing/2014/main" id="{358DA020-CE88-0155-0F51-D15E92CD4240}"/>
              </a:ext>
            </a:extLst>
          </p:cNvPr>
          <p:cNvGraphicFramePr/>
          <p:nvPr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3146494911"/>
              </p:ext>
            </p:extLst>
          </p:nvPr>
        </p:nvGraphicFramePr>
        <p:xfrm>
          <a:off x="6684963" y="2716213"/>
          <a:ext cx="4467225" cy="2524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7"/>
          </a:graphicData>
        </a:graphic>
      </p:graphicFrame>
      <p:sp>
        <p:nvSpPr>
          <p:cNvPr id="258" name="Text Placeholder 2">
            <a:extLst>
              <a:ext uri="{FF2B5EF4-FFF2-40B4-BE49-F238E27FC236}">
                <a16:creationId xmlns:a16="http://schemas.microsoft.com/office/drawing/2014/main" id="{FABD6804-CB57-02A5-52AA-B56326EE9CA9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6353175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E40039-587A-42E2-A43E-5206EBAE3CE7}" type="datetime'''PE''''''P ''p''''opu''''l''a''''''''t''ion ''(Yr'''' 0)'''">
              <a:rPr lang="en-US" altLang="en-US" sz="1400" smtClean="0">
                <a:cs typeface="+mn-cs"/>
              </a:rPr>
              <a:pPr/>
              <a:t>PEP population (Yr 0)</a:t>
            </a:fld>
            <a:endParaRPr lang="en-US" sz="1400" dirty="0">
              <a:cs typeface="+mn-cs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7BE6E050-5201-1D1E-1E46-93A78C6F8CC0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7429500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C0AC4AC-0FC0-4127-A8C8-190327D1AB49}" type="datetime'P''EP'''' ''p''o''p''u''''''la''ti''''''on (Yr'''' ''5'''''')'">
              <a:rPr lang="en-US" altLang="en-US" sz="1400" smtClean="0">
                <a:cs typeface="+mn-cs"/>
              </a:rPr>
              <a:pPr/>
              <a:t>PEP population (Yr 5)</a:t>
            </a:fld>
            <a:endParaRPr lang="en-US" sz="1400" dirty="0">
              <a:cs typeface="+mn-cs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8504238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52EBB0B-00EC-464B-A173-13FE6996BED0}" type="datetime'''PEP ''''''po''''pula''tio''n'''''''''''''' ''''''(Y''r 10)'">
              <a:rPr lang="en-US" altLang="en-US" sz="1400" smtClean="0">
                <a:cs typeface="+mn-cs"/>
              </a:rPr>
              <a:pPr/>
              <a:t>PEP population (Yr 10)</a:t>
            </a:fld>
            <a:endParaRPr lang="en-US" sz="1400" dirty="0">
              <a:cs typeface="+mn-cs"/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9580563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BC9D86D-FF8E-46DB-AECF-B2CABBA2CE5F}" type="datetime'''''PEP ''''po''pul''''''atio''''n'''''' (''Yr'''''' 15'')'">
              <a:rPr lang="en-US" altLang="en-US" sz="1400" smtClean="0">
                <a:cs typeface="+mn-cs"/>
              </a:rPr>
              <a:pPr/>
              <a:t>PEP population (Yr 15)</a:t>
            </a:fld>
            <a:endParaRPr lang="en-US" sz="1400" dirty="0">
              <a:cs typeface="+mn-cs"/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10655300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A010926-9EF2-4B90-9F30-1BC152B49889}" type="datetime'PE''P ''p''''opul''a''tio''''''''''n'''' (''Y''r'' ''''20)'">
              <a:rPr lang="en-US" altLang="en-US" sz="1400" smtClean="0">
                <a:cs typeface="+mn-cs"/>
              </a:rPr>
              <a:pPr/>
              <a:t>PEP population (Yr 20)</a:t>
            </a:fld>
            <a:endParaRPr lang="en-US" sz="1400" dirty="0">
              <a:cs typeface="+mn-cs"/>
            </a:endParaRPr>
          </a:p>
        </p:txBody>
      </p:sp>
      <p:sp useBgFill="1">
        <p:nvSpPr>
          <p:cNvPr id="266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6472238" y="4595813"/>
            <a:ext cx="592138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CB25FB2-3A41-49E7-BB09-2E68A8AEB4FD}" type="datetime'''''''4''''''''''''''''''''''5'''''''',''''''''0''''0''''''0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45,000</a:t>
            </a:fld>
            <a:endParaRPr lang="en-US" sz="1400" dirty="0">
              <a:cs typeface="+mn-cs"/>
            </a:endParaRPr>
          </a:p>
        </p:txBody>
      </p:sp>
      <p:sp useBgFill="1">
        <p:nvSpPr>
          <p:cNvPr id="26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7499350" y="4054475"/>
            <a:ext cx="690563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C56FF6B-9AF5-4BAF-AFCD-F256A4A15C08}" type="datetime'''1''5''''''6'''''''''',''''7''7''''''6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56,776</a:t>
            </a:fld>
            <a:endParaRPr lang="en-US" sz="1400" dirty="0">
              <a:cs typeface="+mn-cs"/>
            </a:endParaRPr>
          </a:p>
        </p:txBody>
      </p:sp>
      <p:sp>
        <p:nvSpPr>
          <p:cNvPr id="269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8574088" y="2455863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80547FF-4460-44F2-89B8-0B6C6E88D59B}" type="datetime'4''''''''8''''''''''5'',''''8''''6''''''''''''''''''''4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485,864</a:t>
            </a:fld>
            <a:endParaRPr lang="en-US" sz="1400" dirty="0">
              <a:cs typeface="+mn-cs"/>
            </a:endParaRPr>
          </a:p>
        </p:txBody>
      </p:sp>
      <p:sp>
        <p:nvSpPr>
          <p:cNvPr id="271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9650413" y="2455863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AE313BF-1CEA-42B8-9388-A145CA9DDA1A}" type="datetime'''''''4''''''''''''85,''''''''''8''''''''6''4''''''''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485,864</a:t>
            </a:fld>
            <a:endParaRPr lang="en-US" sz="1400" dirty="0">
              <a:cs typeface="+mn-cs"/>
            </a:endParaRPr>
          </a:p>
        </p:txBody>
      </p:sp>
      <p:sp>
        <p:nvSpPr>
          <p:cNvPr id="27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10725150" y="2455863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F32322D-6F28-4521-9FD5-D36859146E26}" type="datetime'4''''8''5,''''''''''''''''''''''86''4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485,864</a:t>
            </a:fld>
            <a:endParaRPr lang="en-US" sz="1400" dirty="0"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ADB51E0-B869-2164-63B4-E57CDED85220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1127125" y="1574800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DA9C1F6-9840-FAAD-F8BD-DB729D5093FC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1127125" y="1860550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F415B150-5153-6156-A945-CF3561778E2C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1127125" y="2146300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8919408-C1FA-4A01-B5AE-0CD56CA1210A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1127125" y="2432050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15A4E1E-1DDE-8997-1306-8C79EB29D3EC}"/>
              </a:ext>
            </a:extLst>
          </p:cNvPr>
          <p:cNvSpPr/>
          <p:nvPr>
            <p:custDataLst>
              <p:tags r:id="rId67"/>
            </p:custDataLst>
          </p:nvPr>
        </p:nvSpPr>
        <p:spPr bwMode="auto">
          <a:xfrm>
            <a:off x="1127125" y="271780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1428751" y="1554163"/>
            <a:ext cx="5191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621847D-6686-4C60-B60E-D845F81A3AB5}" type="datetime'''B''''''''''''''''''u''''''f''f''e''''''''''''r'''' '">
              <a:rPr lang="en-US" altLang="en-US" sz="1400" smtClean="0">
                <a:cs typeface="+mn-cs"/>
              </a:rPr>
              <a:pPr/>
              <a:t>Buffer </a:t>
            </a:fld>
            <a:endParaRPr lang="en-US" sz="1400" dirty="0">
              <a:cs typeface="+mn-cs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1428750" y="1839913"/>
            <a:ext cx="74295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A6E4E92-4317-4ED2-A3BA-166504C14DA9}" type="datetime'''''''''''''''W''''''''''''''as''''''''t''ag''e'''' '''''''''">
              <a:rPr lang="en-US" altLang="en-US" sz="1400" smtClean="0">
                <a:cs typeface="+mn-cs"/>
              </a:rPr>
              <a:pPr/>
              <a:t>Wastage </a:t>
            </a:fld>
            <a:endParaRPr lang="en-US" sz="1400" dirty="0"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1428750" y="2125663"/>
            <a:ext cx="12795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620FBC2-26AE-4923-8C21-A9719054B033}" type="datetime'''''''''T''''a''rg''e''t'''''' 3r''''''''d'''' d''o''s''e '">
              <a:rPr lang="en-US" altLang="en-US" sz="1400" smtClean="0">
                <a:cs typeface="+mn-cs"/>
              </a:rPr>
              <a:pPr/>
              <a:t>Target 3rd dose </a:t>
            </a:fld>
            <a:endParaRPr lang="en-US" sz="1400" dirty="0">
              <a:cs typeface="+mn-cs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1428750" y="2411413"/>
            <a:ext cx="13192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3D8C774-C411-4433-8C51-4486B6865DB8}" type="datetime'T''a''''''''''r''''''''g''et'''' 2nd'''' d''''''ose '''''''">
              <a:rPr lang="en-US" altLang="en-US" sz="1400" smtClean="0">
                <a:cs typeface="+mn-cs"/>
              </a:rPr>
              <a:pPr/>
              <a:t>Target 2nd dose </a:t>
            </a:fld>
            <a:endParaRPr lang="en-US" sz="1400" dirty="0">
              <a:cs typeface="+mn-cs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71F69D5-F9EC-EE47-A305-07A1C79AA5B5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1428750" y="2697163"/>
            <a:ext cx="126047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A751D22-5FDE-4687-9E61-0CCAE1CF5A87}" type="datetime'''''''T''''a''''rg''e''''''t'''' 1s''t ''d''''o''se'''''' '''">
              <a:rPr lang="en-US" altLang="en-US" sz="1400" smtClean="0">
                <a:cs typeface="+mn-cs"/>
              </a:rPr>
              <a:pPr/>
              <a:t>Target 1st dose </a:t>
            </a:fld>
            <a:endParaRPr lang="en-US" sz="1400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55493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" name="think-cell data - do not delete" hidden="1">
            <a:extLst>
              <a:ext uri="{FF2B5EF4-FFF2-40B4-BE49-F238E27FC236}">
                <a16:creationId xmlns:a16="http://schemas.microsoft.com/office/drawing/2014/main" id="{C08E85C6-3B60-8DDB-4673-09E8B500D9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7147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2" imgW="353" imgH="353" progId="TCLayout.ActiveDocument.1">
                  <p:embed/>
                </p:oleObj>
              </mc:Choice>
              <mc:Fallback>
                <p:oleObj name="think-cell Slide" r:id="rId72" imgW="353" imgH="353" progId="TCLayout.ActiveDocument.1">
                  <p:embed/>
                  <p:pic>
                    <p:nvPicPr>
                      <p:cNvPr id="7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8E85C6-3B60-8DDB-4673-09E8B500D9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3198CF8F-B7D1-6090-3D08-B7E605AFD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Countries with an expected GAVI application in 2024 -Chad</a:t>
            </a:r>
          </a:p>
        </p:txBody>
      </p:sp>
      <p:sp>
        <p:nvSpPr>
          <p:cNvPr id="283" name="Text Placeholder 282">
            <a:extLst>
              <a:ext uri="{FF2B5EF4-FFF2-40B4-BE49-F238E27FC236}">
                <a16:creationId xmlns:a16="http://schemas.microsoft.com/office/drawing/2014/main" id="{365D413D-7501-0269-CFA3-A36577F9F1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Rabies Access status and PEP population targets</a:t>
            </a:r>
          </a:p>
        </p:txBody>
      </p:sp>
      <p:sp>
        <p:nvSpPr>
          <p:cNvPr id="284" name="Text Placeholder 283">
            <a:extLst>
              <a:ext uri="{FF2B5EF4-FFF2-40B4-BE49-F238E27FC236}">
                <a16:creationId xmlns:a16="http://schemas.microsoft.com/office/drawing/2014/main" id="{388CDE2E-E13A-67DD-491C-3786A2D0CDEB}"/>
              </a:ext>
            </a:extLst>
          </p:cNvPr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cess status at baseline (2025): Limited</a:t>
            </a:r>
          </a:p>
        </p:txBody>
      </p:sp>
      <p:graphicFrame>
        <p:nvGraphicFramePr>
          <p:cNvPr id="48" name="Chart 47">
            <a:extLst>
              <a:ext uri="{FF2B5EF4-FFF2-40B4-BE49-F238E27FC236}">
                <a16:creationId xmlns:a16="http://schemas.microsoft.com/office/drawing/2014/main" id="{AC3505B4-18AD-B075-27DE-365C033BCCB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807499"/>
              </p:ext>
            </p:extLst>
          </p:nvPr>
        </p:nvGraphicFramePr>
        <p:xfrm>
          <a:off x="808038" y="1400175"/>
          <a:ext cx="5191125" cy="4529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4"/>
          </a:graphicData>
        </a:graphic>
      </p:graphicFrame>
      <p:cxnSp>
        <p:nvCxnSpPr>
          <p:cNvPr id="359" name="Straight Connector 358">
            <a:extLst>
              <a:ext uri="{FF2B5EF4-FFF2-40B4-BE49-F238E27FC236}">
                <a16:creationId xmlns:a16="http://schemas.microsoft.com/office/drawing/2014/main" id="{D95CD3F6-C6D6-E0F5-115E-41ED50E31D0F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1484313" y="5394325"/>
            <a:ext cx="8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ED8F2BC-1F33-2859-1272-2D7795356FA0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H="1">
            <a:off x="2320925" y="5167313"/>
            <a:ext cx="8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45C7D682-C37C-6CBD-54A4-EF90C9F099A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1484313" y="5678488"/>
            <a:ext cx="8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F5D657D3-B77E-B709-D20A-64BF6535A676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2320925" y="5594350"/>
            <a:ext cx="8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4" name="Text Placeholder 2">
            <a:extLst>
              <a:ext uri="{FF2B5EF4-FFF2-40B4-BE49-F238E27FC236}">
                <a16:creationId xmlns:a16="http://schemas.microsoft.com/office/drawing/2014/main" id="{0162E8EC-0FA6-CDE7-58D1-830FC167715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106488" y="477996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599FAD0-12A0-4DBB-B629-1D811E3C78BD}" type="datetime'''''''''''''''''''''''''''''''''2''''''''9%'''">
              <a:rPr lang="en-US" altLang="en-US" sz="1400" smtClean="0">
                <a:cs typeface="+mn-cs"/>
              </a:rPr>
              <a:pPr/>
              <a:t>29%</a:t>
            </a:fld>
            <a:endParaRPr lang="en-US" sz="1400" dirty="0">
              <a:cs typeface="+mn-cs"/>
            </a:endParaRPr>
          </a:p>
        </p:txBody>
      </p:sp>
      <p:sp>
        <p:nvSpPr>
          <p:cNvPr id="356" name="Text Placeholder 2">
            <a:extLst>
              <a:ext uri="{FF2B5EF4-FFF2-40B4-BE49-F238E27FC236}">
                <a16:creationId xmlns:a16="http://schemas.microsoft.com/office/drawing/2014/main" id="{F5A86032-D73E-DCDB-D378-8FD1B4B0F81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106488" y="44211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8162150-23A2-4739-B56B-B97536B2EEED}" type="datetime'''''''''''''''''''''''''2''''''0''''''''''''%'''''''''''">
              <a:rPr lang="en-US" altLang="en-US" sz="1400" smtClean="0">
                <a:cs typeface="+mn-cs"/>
              </a:rPr>
              <a:pPr/>
              <a:t>20%</a:t>
            </a:fld>
            <a:endParaRPr lang="en-US" sz="1400" dirty="0">
              <a:cs typeface="+mn-cs"/>
            </a:endParaRPr>
          </a:p>
        </p:txBody>
      </p:sp>
      <p:sp useBgFill="1">
        <p:nvSpPr>
          <p:cNvPr id="19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401888" y="5049838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2BF95BA-41B7-47A4-82C7-B80D60EDF446}" type="datetime'''''''''1''9''''''''''''''''%'''''''''''">
              <a:rPr lang="en-US" altLang="en-US" sz="1400" smtClean="0">
                <a:effectLst/>
                <a:cs typeface="+mn-cs"/>
              </a:rPr>
              <a:pPr/>
              <a:t>19%</a:t>
            </a:fld>
            <a:endParaRPr lang="en-US" sz="1400" dirty="0">
              <a:cs typeface="+mn-cs"/>
            </a:endParaRPr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943100" y="47513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DB9028A-E78A-49D8-91E7-1BF8EF854AB7}" type="datetime'''''''''''''''''''''1''''''''''''''''3%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3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943100" y="431006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C749978-767D-4E7E-9CB8-9F40BD00DBFB}" type="datetime'''''''''3''''''''4''''''''''%'''''''''''''''''''''''''">
              <a:rPr lang="en-US" altLang="en-US" sz="1400" smtClean="0">
                <a:cs typeface="+mn-cs"/>
              </a:rPr>
              <a:pPr/>
              <a:t>34%</a:t>
            </a:fld>
            <a:endParaRPr lang="en-US" sz="1400" dirty="0">
              <a:cs typeface="+mn-cs"/>
            </a:endParaRPr>
          </a:p>
        </p:txBody>
      </p: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992313" y="3917950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0314400-D82B-4BA5-A5D7-6575427CA901}" type="datetime'''''''''''''''''''''8''''''%'''''''''''''''''">
              <a:rPr lang="en-US" altLang="en-US" sz="1400" smtClean="0">
                <a:effectLst/>
                <a:cs typeface="+mn-cs"/>
              </a:rPr>
              <a:pPr/>
              <a:t>8%</a:t>
            </a:fld>
            <a:endParaRPr lang="en-US" sz="1400" dirty="0">
              <a:cs typeface="+mn-cs"/>
            </a:endParaRPr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781300" y="482441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0B7812A-7A7F-41F4-81FC-2C50DBB370FD}" type="datetime'''''''''''1''''''''''''9''''''''''''''''''''%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9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781300" y="442753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65324E1-F2DD-484F-A23A-B15126BD221D}" type="datetime'''''''''''1''''''''''''''''''3''''%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3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781300" y="383857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7B01E77-649B-4423-B154-8EDD47ABE86F}" type="datetime'3''''''''''5''''%'''''''''''''''''">
              <a:rPr lang="en-US" altLang="en-US" sz="1400" smtClean="0">
                <a:cs typeface="+mn-cs"/>
              </a:rPr>
              <a:pPr/>
              <a:t>35%</a:t>
            </a:fld>
            <a:endParaRPr lang="en-US" sz="1400" dirty="0">
              <a:cs typeface="+mn-cs"/>
            </a:endParaRPr>
          </a:p>
        </p:txBody>
      </p:sp>
      <p:sp>
        <p:nvSpPr>
          <p:cNvPr id="205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830513" y="3341688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EE73DE4-2184-4BF0-A529-87697342A0CA}" type="datetime'''''''6''''%'''''''''''''''''''''''''''''">
              <a:rPr lang="en-US" altLang="en-US" sz="1400" smtClean="0">
                <a:effectLst/>
                <a:cs typeface="+mn-cs"/>
              </a:rPr>
              <a:pPr/>
              <a:t>6%</a:t>
            </a:fld>
            <a:endParaRPr lang="en-US" sz="1400" dirty="0">
              <a:cs typeface="+mn-cs"/>
            </a:endParaRPr>
          </a:p>
        </p:txBody>
      </p:sp>
      <p:sp>
        <p:nvSpPr>
          <p:cNvPr id="20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619500" y="460057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F422B5F-7BB6-439B-A528-950C6F79739D}" type="datetime'''''1''''''''''''''''''9''''''''''''%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9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0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619500" y="41036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ED276CA-F7F7-4194-BD06-A39CD4F0289E}" type="datetime'''''''''''''''''''''''''''''13''''''''''%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3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619500" y="33670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0C2D211-B8A2-4BFA-9EDE-B854D9ACB042}" type="datetime'''''''3''''''''''''''''''''''''''5%'''''">
              <a:rPr lang="en-US" altLang="en-US" sz="1400" smtClean="0">
                <a:cs typeface="+mn-cs"/>
              </a:rPr>
              <a:pPr/>
              <a:t>35%</a:t>
            </a:fld>
            <a:endParaRPr lang="en-US" sz="1400" dirty="0">
              <a:cs typeface="+mn-cs"/>
            </a:endParaRPr>
          </a:p>
        </p:txBody>
      </p:sp>
      <p:sp>
        <p:nvSpPr>
          <p:cNvPr id="21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668713" y="2763838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49B8A3B-BE3D-4255-8D2A-C6AA6E254064}" type="datetime'''''''''''''''''''''''5''''''''''''''''''''''''%'''''''''">
              <a:rPr lang="en-US" altLang="en-US" sz="1400" smtClean="0">
                <a:effectLst/>
                <a:cs typeface="+mn-cs"/>
              </a:rPr>
              <a:pPr/>
              <a:t>5%</a:t>
            </a:fld>
            <a:endParaRPr lang="en-US" sz="1400" dirty="0">
              <a:cs typeface="+mn-cs"/>
            </a:endParaRPr>
          </a:p>
        </p:txBody>
      </p:sp>
      <p:sp>
        <p:nvSpPr>
          <p:cNvPr id="21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56113" y="43751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BEBF7C7-64F2-40F3-B9BF-28F68EF8808B}" type="datetime'''''''''''''''''1''9%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9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1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456113" y="37782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E5B6950-7517-4973-A25A-EB24C3E0E9ED}" type="datetime'''''''''''''''''1''''''''''''''''''4''''''''''''''''%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4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1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456113" y="28956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648CD56-5282-483E-9C1F-60FE154BD15F}" type="datetime'''''''''''''''''''''3''''''''5''''''''''''''''''%'''''">
              <a:rPr lang="en-US" altLang="en-US" sz="1400" smtClean="0">
                <a:cs typeface="+mn-cs"/>
              </a:rPr>
              <a:pPr/>
              <a:t>35%</a:t>
            </a:fld>
            <a:endParaRPr lang="en-US" sz="1400" dirty="0">
              <a:cs typeface="+mn-cs"/>
            </a:endParaRPr>
          </a:p>
        </p:txBody>
      </p: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505325" y="2187575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2F1AD03-8F9B-44A6-87FA-784890A06E1E}" type="datetime'4''''''''''''''''%'''''''''''''''''''''''''''">
              <a:rPr lang="en-US" altLang="en-US" sz="1400" smtClean="0">
                <a:effectLst/>
                <a:cs typeface="+mn-cs"/>
              </a:rPr>
              <a:pPr/>
              <a:t>4%</a:t>
            </a:fld>
            <a:endParaRPr lang="en-US" sz="1400" dirty="0">
              <a:cs typeface="+mn-cs"/>
            </a:endParaRPr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294313" y="414972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AB6B9E9-C805-439A-AA6C-BECFA4A40D8D}" type="datetime'''''''2''0%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0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294313" y="34544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FDB0789-62DF-4034-808E-F0ABFBEB653C}" type="datetime'''''''''''''1''4''''''''''''''''%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4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19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294313" y="24257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5BCA55A-5D50-4E47-90AD-AE92A746E393}" type="datetime'3''5''''''''''''''''''''''''''''''''''''''''''%'''''''''">
              <a:rPr lang="en-US" altLang="en-US" sz="1400" smtClean="0">
                <a:cs typeface="+mn-cs"/>
              </a:rPr>
              <a:pPr/>
              <a:t>35%</a:t>
            </a:fld>
            <a:endParaRPr lang="en-US" sz="1400" dirty="0">
              <a:cs typeface="+mn-cs"/>
            </a:endParaRPr>
          </a:p>
        </p:txBody>
      </p:sp>
      <p:sp>
        <p:nvSpPr>
          <p:cNvPr id="22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343525" y="1609725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9BECB23-7E41-424D-9643-90E40DD9E42D}" type="datetime'''''''''''''''''''''''''3''''''''''''%'''''''''''''''">
              <a:rPr lang="en-US" altLang="en-US" sz="1400" smtClean="0">
                <a:cs typeface="+mn-cs"/>
              </a:rPr>
              <a:pPr/>
              <a:t>3%</a:t>
            </a:fld>
            <a:endParaRPr lang="en-US" sz="1400" dirty="0">
              <a:cs typeface="+mn-cs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063625" y="4133850"/>
            <a:ext cx="4937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96DC227-C476-46FB-A723-2F9F8C18A3E2}" type="datetime'4'',3''''''''''''''''''''''''''''''''''''''''''''2''''5'''''''">
              <a:rPr lang="en-US" altLang="en-US" sz="1400" b="1" smtClean="0">
                <a:cs typeface="+mn-cs"/>
              </a:rPr>
              <a:pPr/>
              <a:t>4,325</a:t>
            </a:fld>
            <a:endParaRPr lang="en-US" sz="1400" b="1" dirty="0">
              <a:cs typeface="+mn-cs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900238" y="3683000"/>
            <a:ext cx="4937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DBC1DB7-4B97-4526-BE3C-8874A67E44A8}" type="datetime'''''''''''''''''''''''''5,''''60''''''''''''''''9'">
              <a:rPr lang="en-US" altLang="en-US" sz="1400" b="1" smtClean="0">
                <a:cs typeface="+mn-cs"/>
              </a:rPr>
              <a:pPr/>
              <a:t>5,609</a:t>
            </a:fld>
            <a:endParaRPr lang="en-US" sz="1400" b="1" dirty="0">
              <a:cs typeface="+mn-cs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738438" y="3106738"/>
            <a:ext cx="4937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3517036-91D8-4307-A593-95278B786E56}" type="datetime'''''''''7'''''''''''''',32''''''''''''''''''8'''''''''''''''''">
              <a:rPr lang="en-US" altLang="en-US" sz="1400" b="1" smtClean="0">
                <a:cs typeface="+mn-cs"/>
              </a:rPr>
              <a:pPr/>
              <a:t>7,328</a:t>
            </a:fld>
            <a:endParaRPr lang="en-US" sz="1400" b="1" dirty="0">
              <a:cs typeface="+mn-cs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3576638" y="2528888"/>
            <a:ext cx="4937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333EA16-A486-448D-8B1B-A45BE50D0801}" type="datetime'9'''''''''',''''''''''''''''''0''''''''''46'''''''''">
              <a:rPr lang="en-US" altLang="en-US" sz="1400" b="1" smtClean="0">
                <a:cs typeface="+mn-cs"/>
              </a:rPr>
              <a:pPr/>
              <a:t>9,046</a:t>
            </a:fld>
            <a:endParaRPr lang="en-US" sz="1400" b="1" dirty="0">
              <a:cs typeface="+mn-cs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364038" y="1952625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714C2B8-DCC7-47B5-ABF3-D619125A803B}" type="datetime'''''''''''''1''''''''0'''',7''''''6''''''''''''''''''''5'''''">
              <a:rPr lang="en-US" altLang="en-US" sz="1400" b="1" smtClean="0">
                <a:cs typeface="+mn-cs"/>
              </a:rPr>
              <a:pPr/>
              <a:t>10,765</a:t>
            </a:fld>
            <a:endParaRPr lang="en-US" sz="1400" b="1" dirty="0"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202238" y="1374775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71631A2-2C53-4C2C-B86B-1F42EB0E9C81}" type="datetime'1''''2'''''''',''''''''''''''''''''''''4''''8''''''''4'''">
              <a:rPr lang="en-US" altLang="en-US" sz="1400" b="1" smtClean="0">
                <a:cs typeface="+mn-cs"/>
              </a:rPr>
              <a:pPr/>
              <a:t>12,484</a:t>
            </a:fld>
            <a:endParaRPr lang="en-US" sz="1400" b="1" dirty="0">
              <a:cs typeface="+mn-cs"/>
            </a:endParaRPr>
          </a:p>
        </p:txBody>
      </p:sp>
      <p:sp useBgFill="1">
        <p:nvSpPr>
          <p:cNvPr id="21" name="Text Placeholder 2">
            <a:extLst>
              <a:ext uri="{FF2B5EF4-FFF2-40B4-BE49-F238E27FC236}">
                <a16:creationId xmlns:a16="http://schemas.microsoft.com/office/drawing/2014/main" id="{F811A69A-5373-4B7D-AB1C-4EA48302C04A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565275" y="5561013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934527D-CC16-4E69-B350-8BB52A4FE710}" type="datetime'23''''''''''''''''''''''%'''''''''''''''''''''''''''''''">
              <a:rPr lang="en-US" altLang="en-US" sz="1400" smtClean="0">
                <a:effectLst/>
                <a:cs typeface="+mn-cs"/>
              </a:rPr>
              <a:pPr/>
              <a:t>23%</a:t>
            </a:fld>
            <a:endParaRPr lang="en-US" sz="1400" dirty="0">
              <a:cs typeface="+mn-cs"/>
            </a:endParaRPr>
          </a:p>
        </p:txBody>
      </p:sp>
      <p:sp useBgFill="1">
        <p:nvSpPr>
          <p:cNvPr id="24" name="Text Placeholder 2">
            <a:extLst>
              <a:ext uri="{FF2B5EF4-FFF2-40B4-BE49-F238E27FC236}">
                <a16:creationId xmlns:a16="http://schemas.microsoft.com/office/drawing/2014/main" id="{51813EC2-25D8-3901-75F5-995465A6555D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2401888" y="5476875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D9D6DC5-1728-4DE8-A347-616064A1836D}" type="datetime'''''''''''''2''''''''''''''''''''7''%'''''''''''''''''''''''">
              <a:rPr lang="en-US" altLang="en-US" sz="1400" smtClean="0">
                <a:effectLst/>
                <a:cs typeface="+mn-cs"/>
              </a:rPr>
              <a:pPr/>
              <a:t>27%</a:t>
            </a:fld>
            <a:endParaRPr lang="en-US" sz="1400" dirty="0">
              <a:cs typeface="+mn-cs"/>
            </a:endParaRPr>
          </a:p>
        </p:txBody>
      </p:sp>
      <p:sp>
        <p:nvSpPr>
          <p:cNvPr id="36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454025" y="2768600"/>
            <a:ext cx="234950" cy="1792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+mn-cs"/>
              </a:rPr>
              <a:t>Total number of doses 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FB169E6-B4B4-69C8-A959-2A57E21575C8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3619500" y="53101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990FA0F-3D4C-42C7-9217-40CE5BB63EF6}" type="datetime'2''''''''8''''''%'''">
              <a:rPr lang="en-US" altLang="en-US" sz="1400" smtClean="0">
                <a:cs typeface="+mn-cs"/>
              </a:rPr>
              <a:pPr/>
              <a:t>28%</a:t>
            </a:fld>
            <a:endParaRPr lang="en-US" sz="1400" dirty="0">
              <a:cs typeface="+mn-cs"/>
            </a:endParaRPr>
          </a:p>
        </p:txBody>
      </p:sp>
      <p:sp>
        <p:nvSpPr>
          <p:cNvPr id="257" name="Text Placeholder 2">
            <a:extLst>
              <a:ext uri="{FF2B5EF4-FFF2-40B4-BE49-F238E27FC236}">
                <a16:creationId xmlns:a16="http://schemas.microsoft.com/office/drawing/2014/main" id="{1D25E232-17E8-B0AD-C148-E5CCA3CEBC45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4456113" y="522763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0492058-E4B1-4D36-8F77-C49E14D63FFD}" type="datetime'''''''''2''''''''8''''''''''%'''''''''''''''''''''">
              <a:rPr lang="en-US" altLang="en-US" sz="1400" smtClean="0">
                <a:cs typeface="+mn-cs"/>
              </a:rPr>
              <a:pPr/>
              <a:t>28%</a:t>
            </a:fld>
            <a:endParaRPr lang="en-US" sz="1400" dirty="0">
              <a:cs typeface="+mn-cs"/>
            </a:endParaRPr>
          </a:p>
        </p:txBody>
      </p:sp>
      <p:sp>
        <p:nvSpPr>
          <p:cNvPr id="264" name="Text Placeholder 2">
            <a:extLst>
              <a:ext uri="{FF2B5EF4-FFF2-40B4-BE49-F238E27FC236}">
                <a16:creationId xmlns:a16="http://schemas.microsoft.com/office/drawing/2014/main" id="{F6272AEB-C3E6-4741-3184-380DFC4425B7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294313" y="5143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7C6FA07-9BC3-4374-AEA1-1BDEAE1CC452}" type="datetime'''''''''''''''''''''''''''''2''''''8''''''''''''''''''''%'''">
              <a:rPr lang="en-US" altLang="en-US" sz="1400" smtClean="0">
                <a:cs typeface="+mn-cs"/>
              </a:rPr>
              <a:pPr/>
              <a:t>28%</a:t>
            </a:fld>
            <a:endParaRPr lang="en-US" sz="1400" dirty="0">
              <a:cs typeface="+mn-cs"/>
            </a:endParaRPr>
          </a:p>
        </p:txBody>
      </p:sp>
      <p:sp useBgFill="1">
        <p:nvSpPr>
          <p:cNvPr id="353" name="Text Placeholder 2">
            <a:extLst>
              <a:ext uri="{FF2B5EF4-FFF2-40B4-BE49-F238E27FC236}">
                <a16:creationId xmlns:a16="http://schemas.microsoft.com/office/drawing/2014/main" id="{CC11DF8A-926A-3070-CFB4-218121A86BE8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565275" y="5276850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110F9DE-3E3C-4090-8477-71513DE4398A}" type="datetime'''''''''''''''''1''6''''''%'''''''''''''''''''''''''">
              <a:rPr lang="en-US" altLang="en-US" sz="1400" smtClean="0">
                <a:effectLst/>
                <a:cs typeface="+mn-cs"/>
              </a:rPr>
              <a:pPr/>
              <a:t>16%</a:t>
            </a:fld>
            <a:endParaRPr lang="en-US" sz="1400" dirty="0">
              <a:cs typeface="+mn-cs"/>
            </a:endParaRPr>
          </a:p>
        </p:txBody>
      </p:sp>
      <p:sp>
        <p:nvSpPr>
          <p:cNvPr id="355" name="Text Placeholder 2">
            <a:extLst>
              <a:ext uri="{FF2B5EF4-FFF2-40B4-BE49-F238E27FC236}">
                <a16:creationId xmlns:a16="http://schemas.microsoft.com/office/drawing/2014/main" id="{D0A392D3-E89E-FA8C-41C6-DB89F6D5A432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1112838" y="5076825"/>
            <a:ext cx="393700" cy="2349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63ACA55-77F0-4651-BF63-CE268486B244}" type="datetime'''''''''''''''''''''''''''1''''''''''1''''''''''''''''''%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/>
              <a:t>11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72DD424-9116-FBFC-0923-03C27A491A70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2781300" y="539432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6F73174-A355-46A5-96D2-C68E171FC045}" type="datetime'''''''2''''7''''''''''''''''''''%'''''''''''''''''''''">
              <a:rPr lang="en-US" altLang="en-US" sz="1400" smtClean="0">
                <a:cs typeface="+mn-cs"/>
              </a:rPr>
              <a:pPr/>
              <a:t>27%</a:t>
            </a:fld>
            <a:endParaRPr lang="en-US" sz="1400" dirty="0">
              <a:cs typeface="+mn-cs"/>
            </a:endParaRPr>
          </a:p>
        </p:txBody>
      </p:sp>
      <p:sp>
        <p:nvSpPr>
          <p:cNvPr id="27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943100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6060FC5-440A-415B-AA2D-B98419A97FF4}" type="datetime'202''''6''''''''''''''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6</a:t>
            </a:fld>
            <a:endParaRPr lang="en-US" sz="1400" dirty="0">
              <a:cs typeface="+mn-cs"/>
            </a:endParaRPr>
          </a:p>
        </p:txBody>
      </p:sp>
      <p:sp>
        <p:nvSpPr>
          <p:cNvPr id="27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2781300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F47A7F9-114B-4EB1-B933-DF04DAA764A1}" type="datetime'2''''''''''''''''''''''0''''''''''''''''''''''2''''''7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7</a:t>
            </a:fld>
            <a:endParaRPr lang="en-US" sz="1400" dirty="0">
              <a:cs typeface="+mn-cs"/>
            </a:endParaRPr>
          </a:p>
        </p:txBody>
      </p:sp>
      <p:sp>
        <p:nvSpPr>
          <p:cNvPr id="279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3619500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837169C-54A3-48FB-B9B3-4A43D97BE2BB}" type="datetime'''''''''''''2''''''''''''''''''''''0''''''''2''''''8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8</a:t>
            </a:fld>
            <a:endParaRPr lang="en-US" sz="1400" dirty="0">
              <a:cs typeface="+mn-cs"/>
            </a:endParaRPr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4456113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30E2292-4CDE-4080-A0A2-2DCDE4A63555}" type="datetime'''''''''''''''''''''''''2''''''''''''''''''''''''02''9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9</a:t>
            </a:fld>
            <a:endParaRPr lang="en-US" sz="1400" dirty="0">
              <a:cs typeface="+mn-cs"/>
            </a:endParaRPr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5294313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DAC84FB-9A81-4143-940A-3C443DA54912}" type="datetime'2''''''''''''0''''''3''''''''''0''''''''''''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30</a:t>
            </a:fld>
            <a:endParaRPr lang="en-US" sz="1400" dirty="0">
              <a:cs typeface="+mn-cs"/>
            </a:endParaRPr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1106488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E1E6206-021F-49BE-AABF-A17818E342AA}" type="datetime'''2''0''''''''''''''''''''''''2''''''''''''''''''5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</a:t>
            </a:fld>
            <a:endParaRPr lang="en-US" sz="1400" dirty="0">
              <a:cs typeface="+mn-cs"/>
            </a:endParaRPr>
          </a:p>
        </p:txBody>
      </p:sp>
      <p:graphicFrame>
        <p:nvGraphicFramePr>
          <p:cNvPr id="436" name="Chart 435">
            <a:extLst>
              <a:ext uri="{FF2B5EF4-FFF2-40B4-BE49-F238E27FC236}">
                <a16:creationId xmlns:a16="http://schemas.microsoft.com/office/drawing/2014/main" id="{E5C44738-4FAB-996A-BEBB-3EF5ACE52098}"/>
              </a:ext>
            </a:extLst>
          </p:cNvPr>
          <p:cNvGraphicFramePr/>
          <p:nvPr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4046682891"/>
              </p:ext>
            </p:extLst>
          </p:nvPr>
        </p:nvGraphicFramePr>
        <p:xfrm>
          <a:off x="6684963" y="2716213"/>
          <a:ext cx="4241800" cy="2524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5"/>
          </a:graphicData>
        </a:graphic>
      </p:graphicFrame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7372350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C145380-26D6-467E-8379-E4C98D0B8659}" type="datetime'''''''P''''EP ''po''p''ula''tio''''''''n ''''(Y''''r ''5)'''''">
              <a:rPr lang="en-US" altLang="en-US" sz="1400" smtClean="0">
                <a:cs typeface="+mn-cs"/>
              </a:rPr>
              <a:pPr/>
              <a:t>PEP population (Yr 5)</a:t>
            </a:fld>
            <a:endParaRPr lang="en-US" sz="1400" dirty="0">
              <a:cs typeface="+mn-cs"/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8391525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171327D-4AA4-4769-A50C-AC15040A16A4}" type="datetime'P''''EP p''op''u''''lati''o''n ''''(Yr ''''1''0'''')'">
              <a:rPr lang="en-US" altLang="en-US" sz="1400" smtClean="0">
                <a:cs typeface="+mn-cs"/>
              </a:rPr>
              <a:pPr/>
              <a:t>PEP population (Yr 10)</a:t>
            </a:fld>
            <a:endParaRPr lang="en-US" sz="1400" dirty="0">
              <a:cs typeface="+mn-cs"/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9410700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376A92C-1881-4935-83DD-1E854A103CF9}" type="datetime'''''''PE''P ''p''''o''''p''''ula''t''ion'' ''(''Y''''r 15)'''">
              <a:rPr lang="en-US" altLang="en-US" sz="1400" smtClean="0">
                <a:cs typeface="+mn-cs"/>
              </a:rPr>
              <a:pPr/>
              <a:t>PEP population (Yr 15)</a:t>
            </a:fld>
            <a:endParaRPr lang="en-US" sz="1400" dirty="0">
              <a:cs typeface="+mn-cs"/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10429875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FA3A2AA-BBA5-47AC-BFD3-9D36013A5731}" type="datetime'P''EP po''''''pu''l''ati''''''o''''''n ''''(Yr'' ''20'''''')'">
              <a:rPr lang="en-US" altLang="en-US" sz="1400" smtClean="0">
                <a:cs typeface="+mn-cs"/>
              </a:rPr>
              <a:pPr/>
              <a:t>PEP population (Yr 20)</a:t>
            </a:fld>
            <a:endParaRPr lang="en-US" sz="1400" dirty="0">
              <a:cs typeface="+mn-cs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7BE6E050-5201-1D1E-1E46-93A78C6F8CC0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6353175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7BFF671-7060-47C4-B5C6-A0BEDE1BD8F4}" type="datetime'PE''''''''P p''''opula''''''''t''''ion'''''' ''(Y''''r 0'''')'">
              <a:rPr lang="en-US" altLang="en-US" sz="1400" smtClean="0">
                <a:cs typeface="+mn-cs"/>
              </a:rPr>
              <a:pPr/>
              <a:t>PEP population (Yr 0)</a:t>
            </a:fld>
            <a:endParaRPr lang="en-US" sz="1400" dirty="0">
              <a:cs typeface="+mn-cs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6521450" y="4595813"/>
            <a:ext cx="4937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C98EA18-BC7F-40BE-98C0-399D3B8E3A64}" type="datetime'''''1'''''''''''''''''''''''''''',''''0''''''''''0''0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,000</a:t>
            </a:fld>
            <a:endParaRPr lang="en-US" sz="1400" dirty="0">
              <a:cs typeface="+mn-cs"/>
            </a:endParaRPr>
          </a:p>
        </p:txBody>
      </p:sp>
      <p:sp useBgFill="1">
        <p:nvSpPr>
          <p:cNvPr id="6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7540625" y="4054475"/>
            <a:ext cx="493713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DD89BED-6B7B-48C9-A9F7-E4777CE9E156}" type="datetime'3'''''''''''''''',''''4''''8''''4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,484</a:t>
            </a:fld>
            <a:endParaRPr lang="en-US" sz="1400" dirty="0">
              <a:cs typeface="+mn-cs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8510588" y="2455863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E94D485-6119-444A-BBC6-A2108DEFAA38}" type="datetime'1''''''''''''''''''''''''0'',''''''''7''''''97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0,797</a:t>
            </a:fld>
            <a:endParaRPr lang="en-US" sz="1400" dirty="0">
              <a:cs typeface="+mn-cs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9529763" y="2455863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E1AC871-C235-4F6C-A30C-4726E9723116}" type="datetime'''''''''''''1''''0'''''''''''''''''',''''''7''''''''''''''97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0,797</a:t>
            </a:fld>
            <a:endParaRPr lang="en-US" sz="1400" dirty="0">
              <a:cs typeface="+mn-cs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10548938" y="2455863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46D4729-A35C-4FA9-B2A1-068D5FE85157}" type="datetime'''''''''''''10'''',''''''7''''''''''''''''''9''''7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0,797</a:t>
            </a:fld>
            <a:endParaRPr lang="en-US" sz="1400" dirty="0"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8919408-C1FA-4A01-B5AE-0CD56CA1210A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1127125" y="271780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F415B150-5153-6156-A945-CF3561778E2C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1127125" y="2432050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DA9C1F6-9840-FAAD-F8BD-DB729D5093FC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1127125" y="2146300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ADB51E0-B869-2164-63B4-E57CDED85220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1127125" y="1860550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992C3C59-F44B-E19F-F699-50165143780B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1127125" y="1574800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1428750" y="1839913"/>
            <a:ext cx="74295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544DD3F-D2BF-41F3-AAA0-B6A7A57B07A7}" type="datetime'W''''a''''''st''''''''''''a''''''''g''''''''e'' ''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Wastage </a:t>
            </a:fld>
            <a:endParaRPr lang="en-US" sz="1400" dirty="0">
              <a:cs typeface="+mn-cs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1428750" y="2697163"/>
            <a:ext cx="126047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8F08AF0-D065-4B19-B0F6-F0666C8DB163}" type="datetime'T''a''''r''''''get'''' ''''1''''''''''st ''d''o''''''s''e'' 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Target 1st dose </a:t>
            </a:fld>
            <a:endParaRPr lang="en-US" sz="1400" dirty="0"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1428750" y="2411413"/>
            <a:ext cx="13192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BFB82A8-1875-42EE-9E53-C74D62B87268}" type="datetime'Ta''''''''''''''''r''g''e''''t ''''''''''2''n''d d''''os''e 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Target 2nd dose </a:t>
            </a:fld>
            <a:endParaRPr lang="en-US" sz="1400" dirty="0">
              <a:cs typeface="+mn-cs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1428750" y="2125663"/>
            <a:ext cx="12795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3C2BF25-0AB7-4DDD-9BFD-FDE47A0CED1C}" type="datetime'''''T''a''r''ge''''t'''' 3''''''r''d ''''d''''o''''se'' 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Target 3rd dose </a:t>
            </a:fld>
            <a:endParaRPr lang="en-US" sz="1400" dirty="0">
              <a:cs typeface="+mn-cs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1428750" y="1554163"/>
            <a:ext cx="5191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CB4F4E7-4889-452A-BF36-A351B113F500}" type="datetime'''''''''''''''''Buffe''''''''''''''''r'''''''' 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Buffer </a:t>
            </a:fld>
            <a:endParaRPr lang="en-US" sz="1400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150320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" name="think-cell data - do not delete" hidden="1">
            <a:extLst>
              <a:ext uri="{FF2B5EF4-FFF2-40B4-BE49-F238E27FC236}">
                <a16:creationId xmlns:a16="http://schemas.microsoft.com/office/drawing/2014/main" id="{C08E85C6-3B60-8DDB-4673-09E8B500D9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9466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4" imgW="353" imgH="353" progId="TCLayout.ActiveDocument.1">
                  <p:embed/>
                </p:oleObj>
              </mc:Choice>
              <mc:Fallback>
                <p:oleObj name="think-cell Slide" r:id="rId74" imgW="353" imgH="353" progId="TCLayout.ActiveDocument.1">
                  <p:embed/>
                  <p:pic>
                    <p:nvPicPr>
                      <p:cNvPr id="7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8E85C6-3B60-8DDB-4673-09E8B500D9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3198CF8F-B7D1-6090-3D08-B7E605AFD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Countries with an expected GAVI application in 2024 –Côte d’Ivoire</a:t>
            </a:r>
          </a:p>
        </p:txBody>
      </p:sp>
      <p:sp>
        <p:nvSpPr>
          <p:cNvPr id="283" name="Text Placeholder 282">
            <a:extLst>
              <a:ext uri="{FF2B5EF4-FFF2-40B4-BE49-F238E27FC236}">
                <a16:creationId xmlns:a16="http://schemas.microsoft.com/office/drawing/2014/main" id="{365D413D-7501-0269-CFA3-A36577F9F1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Rabies Access status and PEP population targets</a:t>
            </a:r>
          </a:p>
        </p:txBody>
      </p:sp>
      <p:sp>
        <p:nvSpPr>
          <p:cNvPr id="284" name="Text Placeholder 283">
            <a:extLst>
              <a:ext uri="{FF2B5EF4-FFF2-40B4-BE49-F238E27FC236}">
                <a16:creationId xmlns:a16="http://schemas.microsoft.com/office/drawing/2014/main" id="{388CDE2E-E13A-67DD-491C-3786A2D0CDEB}"/>
              </a:ext>
            </a:extLst>
          </p:cNvPr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cess status at baseline (2025): Limited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1DAC6A8D-F159-306A-21A7-8AE016B4F96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0760898"/>
              </p:ext>
            </p:extLst>
          </p:nvPr>
        </p:nvGraphicFramePr>
        <p:xfrm>
          <a:off x="808038" y="1400175"/>
          <a:ext cx="5191125" cy="4529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6"/>
          </a:graphicData>
        </a:graphic>
      </p:graphicFrame>
      <p:cxnSp>
        <p:nvCxnSpPr>
          <p:cNvPr id="359" name="Straight Connector 358">
            <a:extLst>
              <a:ext uri="{FF2B5EF4-FFF2-40B4-BE49-F238E27FC236}">
                <a16:creationId xmlns:a16="http://schemas.microsoft.com/office/drawing/2014/main" id="{D95CD3F6-C6D6-E0F5-115E-41ED50E31D0F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1484313" y="5087938"/>
            <a:ext cx="8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F5D657D3-B77E-B709-D20A-64BF6535A676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2320925" y="5059363"/>
            <a:ext cx="8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45C7D682-C37C-6CBD-54A4-EF90C9F099A1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H="1" flipV="1">
            <a:off x="1484313" y="5321300"/>
            <a:ext cx="80963" cy="15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ED8F2BC-1F33-2859-1272-2D7795356FA0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 flipH="1">
            <a:off x="2320925" y="4711700"/>
            <a:ext cx="8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0389919-5A09-2DE0-59A9-D6A39E42D1E4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>
            <a:off x="1484313" y="5651500"/>
            <a:ext cx="80962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880B693-A51A-A7ED-A0CC-84260D44A883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2320925" y="5554663"/>
            <a:ext cx="8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5" name="Text Placeholder 2">
            <a:extLst>
              <a:ext uri="{FF2B5EF4-FFF2-40B4-BE49-F238E27FC236}">
                <a16:creationId xmlns:a16="http://schemas.microsoft.com/office/drawing/2014/main" id="{D0A392D3-E89E-FA8C-41C6-DB89F6D5A43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106488" y="470376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185A020-6C34-4B05-8DD8-11F9D6412BEB}" type="datetime'''''2''''''''''''''''''3''''''''''''''''''''''''''%'">
              <a:rPr lang="en-US" altLang="en-US" sz="1400" smtClean="0">
                <a:cs typeface="+mn-cs"/>
              </a:rPr>
              <a:pPr/>
              <a:t>23%</a:t>
            </a:fld>
            <a:endParaRPr lang="en-US" sz="1400" dirty="0">
              <a:cs typeface="+mn-cs"/>
            </a:endParaRPr>
          </a:p>
        </p:txBody>
      </p:sp>
      <p:sp>
        <p:nvSpPr>
          <p:cNvPr id="354" name="Text Placeholder 2">
            <a:extLst>
              <a:ext uri="{FF2B5EF4-FFF2-40B4-BE49-F238E27FC236}">
                <a16:creationId xmlns:a16="http://schemas.microsoft.com/office/drawing/2014/main" id="{0162E8EC-0FA6-CDE7-58D1-830FC167715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106488" y="43830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E4211CD-D3AC-40D3-97B5-A10CF0A07CC7}" type="datetime'''2''''''''''''''''''''0''''''''''''''%'''''''''''''''">
              <a:rPr lang="en-US" altLang="en-US" sz="1400" smtClean="0">
                <a:cs typeface="+mn-cs"/>
              </a:rPr>
              <a:pPr/>
              <a:t>20%</a:t>
            </a:fld>
            <a:endParaRPr lang="en-US" sz="1400" dirty="0">
              <a:cs typeface="+mn-cs"/>
            </a:endParaRPr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106488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E1E6206-021F-49BE-AABF-A17818E342AA}" type="datetime'''2''0''''''''''''''''''''''''2''''''''''''''''''5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</a:t>
            </a:fld>
            <a:endParaRPr lang="en-US" sz="1400" dirty="0">
              <a:cs typeface="+mn-cs"/>
            </a:endParaRPr>
          </a:p>
        </p:txBody>
      </p:sp>
      <p:sp useBgFill="1">
        <p:nvSpPr>
          <p:cNvPr id="24" name="Text Placeholder 2">
            <a:extLst>
              <a:ext uri="{FF2B5EF4-FFF2-40B4-BE49-F238E27FC236}">
                <a16:creationId xmlns:a16="http://schemas.microsoft.com/office/drawing/2014/main" id="{51813EC2-25D8-3901-75F5-995465A6555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401888" y="4941888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396545C-F122-431E-932A-246A51A2A70A}" type="datetime'''''''''''''2''''''''''''''''''1%'''''''''''''''''''''''''''">
              <a:rPr lang="en-US" altLang="en-US" sz="1400" smtClean="0">
                <a:effectLst/>
                <a:cs typeface="+mn-cs"/>
              </a:rPr>
              <a:pPr/>
              <a:t>21%</a:t>
            </a:fld>
            <a:endParaRPr lang="en-US" sz="1400" dirty="0">
              <a:cs typeface="+mn-cs"/>
            </a:endParaRPr>
          </a:p>
        </p:txBody>
      </p:sp>
      <p:sp useBgFill="1">
        <p:nvSpPr>
          <p:cNvPr id="19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401888" y="4594225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05D0177-F44F-4F62-AE29-881D0E777042}" type="datetime'''''15''''''''''''''''''''''''''''''''''''''''%'''''''''''''''">
              <a:rPr lang="en-US" altLang="en-US" sz="1400" smtClean="0">
                <a:effectLst/>
                <a:cs typeface="+mn-cs"/>
              </a:rPr>
              <a:pPr/>
              <a:t>15%</a:t>
            </a:fld>
            <a:endParaRPr lang="en-US" sz="1400" dirty="0">
              <a:cs typeface="+mn-cs"/>
            </a:endParaRPr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943100" y="419417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03C595E-1E8E-4D58-AF5C-9653D9964B6F}" type="datetime'''''''''''''''''''''''2''''''''''''''6''''''''%'''''''''''">
              <a:rPr lang="en-US" altLang="en-US" sz="1400" smtClean="0">
                <a:cs typeface="+mn-cs"/>
              </a:rPr>
              <a:pPr/>
              <a:t>26%</a:t>
            </a:fld>
            <a:endParaRPr lang="en-US" sz="1400" dirty="0">
              <a:cs typeface="+mn-cs"/>
            </a:endParaRPr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992314" y="3863975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36761D-1645-4299-9B2D-CB4F85A124E9}" type="datetime'''''''''''''''''''''''''''''''''''''8''''''''%'">
              <a:rPr lang="en-US" altLang="en-US" sz="1400" smtClean="0">
                <a:cs typeface="+mn-cs"/>
              </a:rPr>
              <a:pPr/>
              <a:t>8%</a:t>
            </a:fld>
            <a:endParaRPr lang="en-US" sz="1400" dirty="0">
              <a:cs typeface="+mn-cs"/>
            </a:endParaRPr>
          </a:p>
        </p:txBody>
      </p:sp>
      <p:sp>
        <p:nvSpPr>
          <p:cNvPr id="27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943100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6060FC5-440A-415B-AA2D-B98419A97FF4}" type="datetime'202''''6''''''''''''''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6</a:t>
            </a:fld>
            <a:endParaRPr lang="en-US" sz="1400" dirty="0">
              <a:cs typeface="+mn-cs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72DD424-9116-FBFC-0923-03C27A491A7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781300" y="46799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5363558-9662-49D7-A963-C09377CD94A4}" type="datetime'''''''''''''''''''''''''''''''''2''''1''%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1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781300" y="42179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1FE1D05-151A-43CB-B221-D6A42C220863}" type="datetime'1''5''''''''%''''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5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781300" y="368617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82C874B-033C-40BE-98F0-F5CD286733F2}" type="datetime'''''''''''''''''''''''''''2''7''''''''''''''''''''''%'''''''">
              <a:rPr lang="en-US" altLang="en-US" sz="1400" smtClean="0">
                <a:cs typeface="+mn-cs"/>
              </a:rPr>
              <a:pPr/>
              <a:t>27%</a:t>
            </a:fld>
            <a:endParaRPr lang="en-US" sz="1400" dirty="0">
              <a:cs typeface="+mn-cs"/>
            </a:endParaRPr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830514" y="3270250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7FA09B2-E7AE-4F3B-963D-F6FE4E0BF561}" type="datetime'''''''''''''''''''''''''''6''''''''''''''''%'">
              <a:rPr lang="en-US" altLang="en-US" sz="1400" smtClean="0">
                <a:cs typeface="+mn-cs"/>
              </a:rPr>
              <a:pPr/>
              <a:t>6%</a:t>
            </a:fld>
            <a:endParaRPr lang="en-US" sz="1400" dirty="0">
              <a:cs typeface="+mn-cs"/>
            </a:endParaRPr>
          </a:p>
        </p:txBody>
      </p:sp>
      <p:sp>
        <p:nvSpPr>
          <p:cNvPr id="27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781300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F47A7F9-114B-4EB1-B933-DF04DAA764A1}" type="datetime'2''''''''''''''''''''''0''''''''''''''''''''''2''''''7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7</a:t>
            </a:fld>
            <a:endParaRPr lang="en-US" sz="1400" dirty="0">
              <a:cs typeface="+mn-cs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FB169E6-B4B4-69C8-A959-2A57E21575C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619500" y="44196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F50AD0C-4EF1-4743-9380-2B281FE504C9}" type="datetime'''''''''''''''''''''''''2''''''''''''''''''2''''''''%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2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0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619500" y="38417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871E149-B575-4F9D-9787-507AF3DF3BAE}" type="datetime'''''''''''15''''''''%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5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0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619500" y="31765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C0666BE-0264-4FFB-B873-90EE1EB2594A}" type="datetime'''2''''''''''''''7''''''''''''''''''%'''">
              <a:rPr lang="en-US" altLang="en-US" sz="1400" smtClean="0">
                <a:cs typeface="+mn-cs"/>
              </a:rPr>
              <a:pPr/>
              <a:t>27%</a:t>
            </a:fld>
            <a:endParaRPr lang="en-US" sz="1400" dirty="0">
              <a:cs typeface="+mn-cs"/>
            </a:endParaRPr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668714" y="2674938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CC972CB-428A-496E-BA95-3D8FFF3834F4}" type="datetime'''''5''''''''''''''%'''''''''''''''">
              <a:rPr lang="en-US" altLang="en-US" sz="1400" smtClean="0">
                <a:cs typeface="+mn-cs"/>
              </a:rPr>
              <a:pPr/>
              <a:t>5%</a:t>
            </a:fld>
            <a:endParaRPr lang="en-US" sz="1400" dirty="0">
              <a:cs typeface="+mn-cs"/>
            </a:endParaRPr>
          </a:p>
        </p:txBody>
      </p:sp>
      <p:sp>
        <p:nvSpPr>
          <p:cNvPr id="279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619500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837169C-54A3-48FB-B9B3-4A43D97BE2BB}" type="datetime'''''''''''''2''''''''''''''''''''''0''''''''2''''''8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8</a:t>
            </a:fld>
            <a:endParaRPr lang="en-US" sz="1400" dirty="0">
              <a:cs typeface="+mn-cs"/>
            </a:endParaRPr>
          </a:p>
        </p:txBody>
      </p:sp>
      <p:sp>
        <p:nvSpPr>
          <p:cNvPr id="257" name="Text Placeholder 2">
            <a:extLst>
              <a:ext uri="{FF2B5EF4-FFF2-40B4-BE49-F238E27FC236}">
                <a16:creationId xmlns:a16="http://schemas.microsoft.com/office/drawing/2014/main" id="{1D25E232-17E8-B0AD-C148-E5CCA3CEBC45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456113" y="415766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4397C75-E1E9-43E3-9A4B-072B3C6E10DE}" type="datetime'''''''''''''''''''22''''''''''''''''''''%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2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1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456113" y="346551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A499C32-CD18-4C0D-BA79-9C2DB60C6963}" type="datetime'''''''''''''''''''''1''''''''''''''''5''''''%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5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1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456113" y="26670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411E71F-4A1E-4DDB-A6E5-64A20F2AC5A0}" type="datetime'''''''28''''''''''''''''''''''''''''''''%'''''''''''''''''">
              <a:rPr lang="en-US" altLang="en-US" sz="1400" smtClean="0">
                <a:cs typeface="+mn-cs"/>
              </a:rPr>
              <a:pPr/>
              <a:t>28%</a:t>
            </a:fld>
            <a:endParaRPr lang="en-US" sz="1400" dirty="0">
              <a:cs typeface="+mn-cs"/>
            </a:endParaRPr>
          </a:p>
        </p:txBody>
      </p:sp>
      <p:sp>
        <p:nvSpPr>
          <p:cNvPr id="21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505326" y="2081213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405475A-CB46-4F13-A8BA-610829F11F62}" type="datetime'''''''''''''''''''''''''''''''4''''''%'">
              <a:rPr lang="en-US" altLang="en-US" sz="1400" smtClean="0">
                <a:cs typeface="+mn-cs"/>
              </a:rPr>
              <a:pPr/>
              <a:t>4%</a:t>
            </a:fld>
            <a:endParaRPr lang="en-US" sz="1400" dirty="0">
              <a:cs typeface="+mn-cs"/>
            </a:endParaRPr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456113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30E2292-4CDE-4080-A0A2-2DCDE4A63555}" type="datetime'''''''''''''''''''''''''2''''''''''''''''''''''''02''9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9</a:t>
            </a:fld>
            <a:endParaRPr lang="en-US" sz="1400" dirty="0">
              <a:cs typeface="+mn-cs"/>
            </a:endParaRPr>
          </a:p>
        </p:txBody>
      </p:sp>
      <p:sp>
        <p:nvSpPr>
          <p:cNvPr id="264" name="Text Placeholder 2">
            <a:extLst>
              <a:ext uri="{FF2B5EF4-FFF2-40B4-BE49-F238E27FC236}">
                <a16:creationId xmlns:a16="http://schemas.microsoft.com/office/drawing/2014/main" id="{F6272AEB-C3E6-4741-3184-380DFC4425B7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5294313" y="389572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A1642DC-D060-4BFA-9A87-8B096EBB1CC3}" type="datetime'2''''2''''''''''''''''''''''''''''%''''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2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5294313" y="30876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AB67216-8004-4D54-A3BA-63AD400E0984}" type="datetime'''''''1''''''''''5%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5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294313" y="21590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BB53F85-C6B5-4DAD-8214-68BABF20D060}" type="datetime'''''''''''''2''''8''''''''''''''%'''">
              <a:rPr lang="en-US" altLang="en-US" sz="1400" smtClean="0">
                <a:cs typeface="+mn-cs"/>
              </a:rPr>
              <a:pPr/>
              <a:t>28%</a:t>
            </a:fld>
            <a:endParaRPr lang="en-US" sz="1400" dirty="0">
              <a:cs typeface="+mn-cs"/>
            </a:endParaRPr>
          </a:p>
        </p:txBody>
      </p:sp>
      <p:sp>
        <p:nvSpPr>
          <p:cNvPr id="219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343526" y="1487488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11C46BA-CC00-4AD9-8C24-D85C358CD0B9}" type="datetime'''''''''3''''''''''''''''''''''''''''''''''''''''''''%'''">
              <a:rPr lang="en-US" altLang="en-US" sz="1400" smtClean="0">
                <a:cs typeface="+mn-cs"/>
              </a:rPr>
              <a:pPr/>
              <a:t>3%</a:t>
            </a:fld>
            <a:endParaRPr lang="en-US" sz="1400" dirty="0">
              <a:cs typeface="+mn-cs"/>
            </a:endParaRPr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294313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DAC84FB-9A81-4143-940A-3C443DA54912}" type="datetime'2''''''''''''0''''''3''''''''''0''''''''''''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30</a:t>
            </a:fld>
            <a:endParaRPr lang="en-US" sz="1400" dirty="0">
              <a:cs typeface="+mn-cs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014412" y="4090988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8DEDD1-1E00-4C5F-946B-8EF9897124AA}" type="datetime'''''9''5'''',''''''94''''''''''0'''''''''''''''''''''''''">
              <a:rPr lang="en-US" altLang="en-US" sz="1400" b="1" smtClean="0">
                <a:cs typeface="+mn-cs"/>
              </a:rPr>
              <a:pPr/>
              <a:t>95,940</a:t>
            </a:fld>
            <a:endParaRPr lang="en-US" sz="1400" b="1" dirty="0">
              <a:cs typeface="+mn-cs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1801813" y="3629025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281A781-19F0-4535-ADEF-1E2DDF062010}" type="datetime'1''24'''''',''''''''''''''''''''4''''''1''4'''''''''">
              <a:rPr lang="en-US" altLang="en-US" sz="1400" b="1" smtClean="0">
                <a:cs typeface="+mn-cs"/>
              </a:rPr>
              <a:pPr/>
              <a:t>124,414</a:t>
            </a:fld>
            <a:endParaRPr lang="en-US" sz="1400" b="1" dirty="0">
              <a:cs typeface="+mn-cs"/>
            </a:endParaRPr>
          </a:p>
        </p:txBody>
      </p:sp>
      <p:sp>
        <p:nvSpPr>
          <p:cNvPr id="36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454025" y="2768600"/>
            <a:ext cx="234950" cy="1792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+mn-cs"/>
              </a:rPr>
              <a:t>Total number of doses 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3478213" y="2439988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AF19FC8-0404-4E8E-9015-00FF89957AC9}" type="datetime'''''''''''''2''''00'''''',''6''''''''''''''''''7''''''''''3'''">
              <a:rPr lang="en-US" altLang="en-US" sz="1400" b="1" smtClean="0">
                <a:cs typeface="+mn-cs"/>
              </a:rPr>
              <a:pPr/>
              <a:t>200,673</a:t>
            </a:fld>
            <a:endParaRPr lang="en-US" sz="1400" b="1" dirty="0">
              <a:cs typeface="+mn-cs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314825" y="1846263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A0EB5A7-CB8B-42BF-9E3A-32D21CEA4DB1}" type="datetime'''''''''''''''''''''2''3''8'''''',''''''''''''''8''''0''''2'''">
              <a:rPr lang="en-US" altLang="en-US" sz="1400" b="1" smtClean="0">
                <a:cs typeface="+mn-cs"/>
              </a:rPr>
              <a:pPr/>
              <a:t>238,802</a:t>
            </a:fld>
            <a:endParaRPr lang="en-US" sz="1400" b="1" dirty="0"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5153025" y="1252538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2B0F195-63AB-40B7-851A-5EAF0938A4BF}" type="datetime'''''''2''''''''7''''6'',''''''''''9''3''''1'''''''''">
              <a:rPr lang="en-US" altLang="en-US" sz="1400" b="1" smtClean="0">
                <a:cs typeface="+mn-cs"/>
              </a:rPr>
              <a:pPr/>
              <a:t>276,931</a:t>
            </a:fld>
            <a:endParaRPr lang="en-US" sz="1400" b="1" dirty="0">
              <a:cs typeface="+mn-cs"/>
            </a:endParaRPr>
          </a:p>
        </p:txBody>
      </p:sp>
      <p:sp useBgFill="1">
        <p:nvSpPr>
          <p:cNvPr id="10" name="Text Placeholder 2">
            <a:extLst>
              <a:ext uri="{FF2B5EF4-FFF2-40B4-BE49-F238E27FC236}">
                <a16:creationId xmlns:a16="http://schemas.microsoft.com/office/drawing/2014/main" id="{344D838A-9CE9-86A2-D9C8-12C4E3E9ED9B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1565275" y="5534025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927E48F-B1C7-4A31-8D81-741379FCB39F}" type="datetime'''''''''''''''''''''''''''''''''''''''''2''''''6''''''%'''''''">
              <a:rPr lang="en-US" altLang="en-US" sz="1400" smtClean="0">
                <a:effectLst/>
                <a:cs typeface="+mn-cs"/>
              </a:rPr>
              <a:pPr/>
              <a:t>26%</a:t>
            </a:fld>
            <a:endParaRPr lang="en-US" sz="1400" dirty="0">
              <a:cs typeface="+mn-cs"/>
            </a:endParaRPr>
          </a:p>
        </p:txBody>
      </p:sp>
      <p:sp useBgFill="1">
        <p:nvSpPr>
          <p:cNvPr id="11" name="Text Placeholder 2">
            <a:extLst>
              <a:ext uri="{FF2B5EF4-FFF2-40B4-BE49-F238E27FC236}">
                <a16:creationId xmlns:a16="http://schemas.microsoft.com/office/drawing/2014/main" id="{7EFDFB1B-8D36-50EB-91B1-A860123CBA4F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2401888" y="5437188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4D0FD6D-8367-4D69-8C83-82A9538F500C}" type="datetime'''''''''''''''''3''''''''''''''''''''''''''''''''0%'''''''''''">
              <a:rPr lang="en-US" altLang="en-US" sz="1400" smtClean="0">
                <a:effectLst/>
                <a:cs typeface="+mn-cs"/>
              </a:rPr>
              <a:pPr/>
              <a:t>30%</a:t>
            </a:fld>
            <a:endParaRPr lang="en-US" sz="1400" dirty="0">
              <a:cs typeface="+mn-cs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2640013" y="3035300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1EAC685-0599-4755-B45D-CC47DFF27481}" type="datetime'''''1''''6''''2'''''''''''''',''''''''''54''''''''''''3'''">
              <a:rPr lang="en-US" altLang="en-US" sz="1400" b="1" smtClean="0">
                <a:cs typeface="+mn-cs"/>
              </a:rPr>
              <a:pPr/>
              <a:t>162,543</a:t>
            </a:fld>
            <a:endParaRPr lang="en-US" sz="1400" b="1" dirty="0">
              <a:cs typeface="+mn-cs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3A3C32A-52A9-DBA1-6F1C-50C86C37EC8E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3619500" y="524351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55FC042-C33C-484A-AE06-7F4EEC63F421}" type="datetime'''''3''''1''''%'''''''''''''''''''''''''''''">
              <a:rPr lang="en-US" altLang="en-US" sz="1400" smtClean="0">
                <a:cs typeface="+mn-cs"/>
              </a:rPr>
              <a:pPr/>
              <a:t>31%</a:t>
            </a:fld>
            <a:endParaRPr lang="en-US" sz="1400" dirty="0">
              <a:cs typeface="+mn-cs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F5624F9-440A-3749-26CF-D24A525BCBD3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4456113" y="514667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25CFA1C-8CB1-41CC-81D5-57D604F99424}" type="datetime'''''''''''''''''''''''''''''''''3''1''''%'''''''''''''''''''''">
              <a:rPr lang="en-US" altLang="en-US" sz="1400" smtClean="0">
                <a:cs typeface="+mn-cs"/>
              </a:rPr>
              <a:pPr/>
              <a:t>31%</a:t>
            </a:fld>
            <a:endParaRPr lang="en-US" sz="1400" dirty="0">
              <a:cs typeface="+mn-cs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81EE6AF-8538-0B27-B363-B2FFA0E3FE0D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5294313" y="504983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880755E-3AD5-48C2-B634-6BA91437999B}" type="datetime'''''''''''''''''''''''''''''3''''''1''''''''''''''''%'''''">
              <a:rPr lang="en-US" altLang="en-US" sz="1400" smtClean="0">
                <a:cs typeface="+mn-cs"/>
              </a:rPr>
              <a:pPr/>
              <a:t>31%</a:t>
            </a:fld>
            <a:endParaRPr lang="en-US" sz="1400" dirty="0">
              <a:cs typeface="+mn-cs"/>
            </a:endParaRPr>
          </a:p>
        </p:txBody>
      </p:sp>
      <p:sp useBgFill="1">
        <p:nvSpPr>
          <p:cNvPr id="21" name="Text Placeholder 2">
            <a:extLst>
              <a:ext uri="{FF2B5EF4-FFF2-40B4-BE49-F238E27FC236}">
                <a16:creationId xmlns:a16="http://schemas.microsoft.com/office/drawing/2014/main" id="{F811A69A-5373-4B7D-AB1C-4EA48302C04A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1565275" y="5205413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5068D9F-58FB-429D-A2B1-5290590DB33C}" type="datetime'''''''''''''''''1''''''''''''''8''''''''%'''''''">
              <a:rPr lang="en-US" altLang="en-US" sz="1400" smtClean="0">
                <a:effectLst/>
                <a:cs typeface="+mn-cs"/>
              </a:rPr>
              <a:pPr/>
              <a:t>18%</a:t>
            </a:fld>
            <a:endParaRPr lang="en-US" sz="1400" dirty="0">
              <a:cs typeface="+mn-cs"/>
            </a:endParaRPr>
          </a:p>
        </p:txBody>
      </p:sp>
      <p:sp useBgFill="1">
        <p:nvSpPr>
          <p:cNvPr id="353" name="Text Placeholder 2">
            <a:extLst>
              <a:ext uri="{FF2B5EF4-FFF2-40B4-BE49-F238E27FC236}">
                <a16:creationId xmlns:a16="http://schemas.microsoft.com/office/drawing/2014/main" id="{CC11DF8A-926A-3070-CFB4-218121A86BE8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1565275" y="4970463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213EFA6-2F44-46D4-8385-A7968561A1B8}" type="datetime'1''''''''''''''''''''''3''''%'''''''''''''''''''''">
              <a:rPr lang="en-US" altLang="en-US" sz="1400" smtClean="0">
                <a:effectLst/>
                <a:cs typeface="+mn-cs"/>
              </a:rPr>
              <a:pPr/>
              <a:t>13%</a:t>
            </a:fld>
            <a:endParaRPr lang="en-US" sz="1400" dirty="0">
              <a:cs typeface="+mn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6B31BCB-3B8C-D942-C1FF-190CDCCFA98B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2781300" y="53403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A6703F1-F915-407B-9A7F-061312B90E9C}" type="datetime'''''''''''''''''''''3''''''''''''''''''''''1''%'''''''''''''">
              <a:rPr lang="en-US" altLang="en-US" sz="1400" smtClean="0">
                <a:cs typeface="+mn-cs"/>
              </a:rPr>
              <a:pPr/>
              <a:t>31%</a:t>
            </a:fld>
            <a:endParaRPr lang="en-US" sz="1400" dirty="0">
              <a:cs typeface="+mn-cs"/>
            </a:endParaRPr>
          </a:p>
        </p:txBody>
      </p:sp>
      <p:graphicFrame>
        <p:nvGraphicFramePr>
          <p:cNvPr id="269" name="Chart 268">
            <a:extLst>
              <a:ext uri="{FF2B5EF4-FFF2-40B4-BE49-F238E27FC236}">
                <a16:creationId xmlns:a16="http://schemas.microsoft.com/office/drawing/2014/main" id="{F35D6FD7-0AD0-2D6E-7BED-1E65FECC4B14}"/>
              </a:ext>
            </a:extLst>
          </p:cNvPr>
          <p:cNvGraphicFramePr/>
          <p:nvPr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3857529672"/>
              </p:ext>
            </p:extLst>
          </p:nvPr>
        </p:nvGraphicFramePr>
        <p:xfrm>
          <a:off x="6684963" y="2716213"/>
          <a:ext cx="4824412" cy="2524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7"/>
          </a:graphicData>
        </a:graphic>
      </p:graphicFrame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7BE6E050-5201-1D1E-1E46-93A78C6F8CC0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7518400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E69C8B6-A335-4F37-B782-14E79E2B0BB1}" type="datetime'''P''EP p''op''u''la''ti''on'''' ''''(''''''''Y''r'''' 5)'">
              <a:rPr lang="en-US" altLang="en-US" sz="1400" smtClean="0">
                <a:cs typeface="+mn-cs"/>
              </a:rPr>
              <a:pPr/>
              <a:t>PEP population (Yr 5)</a:t>
            </a:fld>
            <a:endParaRPr lang="en-US" sz="1400" dirty="0">
              <a:cs typeface="+mn-cs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683625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494D27B-79DB-4811-B8D1-0656F98FBACD}" type="datetime'P''EP po''pul''a''''t''''i''''''o''n'' (''Y''r'' 10'')'''">
              <a:rPr lang="en-US" altLang="en-US" sz="1400" smtClean="0">
                <a:cs typeface="+mn-cs"/>
              </a:rPr>
              <a:pPr/>
              <a:t>PEP population (Yr 10)</a:t>
            </a:fld>
            <a:endParaRPr lang="en-US" sz="1400" dirty="0">
              <a:cs typeface="+mn-cs"/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9847263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F7CD4B1-D75C-46FE-98D9-41CFD276A1D4}" type="datetime'P''EP p''o''pul''at''''''''ion (''Y''''''r'''' ''''''15'')'''">
              <a:rPr lang="en-US" altLang="en-US" sz="1400" smtClean="0">
                <a:cs typeface="+mn-cs"/>
              </a:rPr>
              <a:pPr/>
              <a:t>PEP population (Yr 15)</a:t>
            </a:fld>
            <a:endParaRPr lang="en-US" sz="1400" dirty="0">
              <a:cs typeface="+mn-cs"/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11012488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73E0CBA-E393-4111-9AC5-13C895AE36F0}" type="datetime'''''PEP'' pop''ul''at''i''o''''n'' (Yr'' ''''2''0)'''''''''">
              <a:rPr lang="en-US" altLang="en-US" sz="1400" smtClean="0">
                <a:cs typeface="+mn-cs"/>
              </a:rPr>
              <a:pPr/>
              <a:t>PEP population (Yr 20)</a:t>
            </a:fld>
            <a:endParaRPr lang="en-US" sz="1400" dirty="0">
              <a:cs typeface="+mn-cs"/>
            </a:endParaRPr>
          </a:p>
        </p:txBody>
      </p:sp>
      <p:sp>
        <p:nvSpPr>
          <p:cNvPr id="256" name="Text Placeholder 2">
            <a:extLst>
              <a:ext uri="{FF2B5EF4-FFF2-40B4-BE49-F238E27FC236}">
                <a16:creationId xmlns:a16="http://schemas.microsoft.com/office/drawing/2014/main" id="{DE09F304-175B-96DB-AE61-3AEC9389FB80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6353175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43E4D30-F2F7-485D-95F5-21A0483258B8}" type="datetime'P''''''EP ''p''op''''''ulat''''''''''ion'' (Y''r'' 0'')'''''''">
              <a:rPr lang="en-US" altLang="en-US" sz="1400" smtClean="0">
                <a:cs typeface="+mn-cs"/>
              </a:rPr>
              <a:pPr/>
              <a:t>PEP population (Yr 0)</a:t>
            </a:fld>
            <a:endParaRPr lang="en-US" sz="1400" dirty="0">
              <a:cs typeface="+mn-cs"/>
            </a:endParaRPr>
          </a:p>
        </p:txBody>
      </p:sp>
      <p:sp>
        <p:nvSpPr>
          <p:cNvPr id="261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6472238" y="4595813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21B7988-C7DE-4A67-8A5B-E546E0189730}" type="datetime'''''''''''''''''2''''5'',00''''''''''''''''''''''''0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5,000</a:t>
            </a:fld>
            <a:endParaRPr lang="en-US" sz="1400" dirty="0">
              <a:cs typeface="+mn-cs"/>
            </a:endParaRPr>
          </a:p>
        </p:txBody>
      </p:sp>
      <p:sp useBgFill="1">
        <p:nvSpPr>
          <p:cNvPr id="26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7637463" y="4054475"/>
            <a:ext cx="592138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13CF9D2-FD7C-4C9D-A20E-976225CB473D}" type="datetime'''''''''''''8''''''''''7'''''''''''''''''',''09''''8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87,098</a:t>
            </a:fld>
            <a:endParaRPr lang="en-US" sz="1400" dirty="0">
              <a:cs typeface="+mn-cs"/>
            </a:endParaRPr>
          </a:p>
        </p:txBody>
      </p:sp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8753475" y="2455863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0E83588-9BCD-4082-8D27-8B0F8BF87D64}" type="datetime'''''2''''''6''9'''''''''''',''''''''9''''2''4''''''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69,924</a:t>
            </a:fld>
            <a:endParaRPr lang="en-US" sz="1400" dirty="0">
              <a:cs typeface="+mn-cs"/>
            </a:endParaRPr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9917113" y="2455863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F7EF129-6157-46ED-AEE0-E84F779A0E72}" type="datetime'''''''''''''''2''6''''9'''''''''''''''''''',''92''''''4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69,924</a:t>
            </a:fld>
            <a:endParaRPr lang="en-US" sz="1400" dirty="0">
              <a:cs typeface="+mn-cs"/>
            </a:endParaRPr>
          </a:p>
        </p:txBody>
      </p:sp>
      <p:sp>
        <p:nvSpPr>
          <p:cNvPr id="266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11082338" y="2455863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2AFE996-65DC-44D2-9CE3-9DDEB14B9ABD}" type="datetime'26''9'''',''''''''''''''''92''''4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69,924</a:t>
            </a:fld>
            <a:endParaRPr lang="en-US" sz="1400" dirty="0"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ADB51E0-B869-2164-63B4-E57CDED85220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1127125" y="1574800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DA9C1F6-9840-FAAD-F8BD-DB729D5093FC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1127125" y="1860550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F415B150-5153-6156-A945-CF3561778E2C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1127125" y="2146300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8919408-C1FA-4A01-B5AE-0CD56CA1210A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1127125" y="2432050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B672D7A-2D42-990E-5A34-7F62CC2DC467}"/>
              </a:ext>
            </a:extLst>
          </p:cNvPr>
          <p:cNvSpPr/>
          <p:nvPr>
            <p:custDataLst>
              <p:tags r:id="rId67"/>
            </p:custDataLst>
          </p:nvPr>
        </p:nvSpPr>
        <p:spPr bwMode="auto">
          <a:xfrm>
            <a:off x="1127125" y="271780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1428751" y="1554163"/>
            <a:ext cx="5191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3041AC3-FB7B-4DA6-8683-029829036B90}" type="datetime'''''''''''''''''''''''''B''''u''''f''''f''''e''r '''''">
              <a:rPr lang="en-US" altLang="en-US" sz="1400" smtClean="0">
                <a:cs typeface="+mn-cs"/>
              </a:rPr>
              <a:pPr/>
              <a:t>Buffer </a:t>
            </a:fld>
            <a:endParaRPr lang="en-US" sz="1400" dirty="0">
              <a:cs typeface="+mn-cs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1428750" y="1839913"/>
            <a:ext cx="74295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0D71BD8-A016-47F6-BE39-D8A98560B6E5}" type="datetime'''''''''''''''W''a''''''s''''''''''''t''''''ag''''e'''''' '''">
              <a:rPr lang="en-US" altLang="en-US" sz="1400" smtClean="0">
                <a:cs typeface="+mn-cs"/>
              </a:rPr>
              <a:pPr/>
              <a:t>Wastage </a:t>
            </a:fld>
            <a:endParaRPr lang="en-US" sz="1400" dirty="0"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1428750" y="2125663"/>
            <a:ext cx="12795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B766594-4EDA-4484-9FF3-87D75A5F8FCA}" type="datetime'''T''''''a''rg''et ''''3''rd'' d''''''''''o''''''''s''e'''' '">
              <a:rPr lang="en-US" altLang="en-US" sz="1400" smtClean="0">
                <a:cs typeface="+mn-cs"/>
              </a:rPr>
              <a:pPr/>
              <a:t>Target 3rd dose </a:t>
            </a:fld>
            <a:endParaRPr lang="en-US" sz="1400" dirty="0">
              <a:cs typeface="+mn-cs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1428750" y="2411413"/>
            <a:ext cx="13192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5751A8F-3F94-4C95-AB32-0248541CA11F}" type="datetime'''T''''arget ''''2''''n''''''d'''' ''do''''s''''''e'' '''''">
              <a:rPr lang="en-US" altLang="en-US" sz="1400" smtClean="0">
                <a:cs typeface="+mn-cs"/>
              </a:rPr>
              <a:pPr/>
              <a:t>Target 2nd dose </a:t>
            </a:fld>
            <a:endParaRPr lang="en-US" sz="1400" dirty="0"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DDBF6AC-C87B-97A9-9BC2-A13A16332DE4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1428750" y="2697163"/>
            <a:ext cx="126047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AFF95DD-7925-49E1-8CB9-32EFCC47C575}" type="datetime'''''T''''''''''''''''''''arge''''t'' 1s''t'''''' dose '">
              <a:rPr lang="en-US" altLang="en-US" sz="1400" smtClean="0">
                <a:cs typeface="+mn-cs"/>
              </a:rPr>
              <a:pPr/>
              <a:t>Target 1st dose </a:t>
            </a:fld>
            <a:endParaRPr lang="en-US" sz="1400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737584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" name="think-cell data - do not delete" hidden="1">
            <a:extLst>
              <a:ext uri="{FF2B5EF4-FFF2-40B4-BE49-F238E27FC236}">
                <a16:creationId xmlns:a16="http://schemas.microsoft.com/office/drawing/2014/main" id="{C08E85C6-3B60-8DDB-4673-09E8B500D9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8080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4" imgW="353" imgH="353" progId="TCLayout.ActiveDocument.1">
                  <p:embed/>
                </p:oleObj>
              </mc:Choice>
              <mc:Fallback>
                <p:oleObj name="think-cell Slide" r:id="rId74" imgW="353" imgH="353" progId="TCLayout.ActiveDocument.1">
                  <p:embed/>
                  <p:pic>
                    <p:nvPicPr>
                      <p:cNvPr id="7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8E85C6-3B60-8DDB-4673-09E8B500D9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3198CF8F-B7D1-6090-3D08-B7E605AFD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Countries with an expected GAVI application in 2024 –Madagascar</a:t>
            </a:r>
          </a:p>
        </p:txBody>
      </p:sp>
      <p:sp>
        <p:nvSpPr>
          <p:cNvPr id="283" name="Text Placeholder 282">
            <a:extLst>
              <a:ext uri="{FF2B5EF4-FFF2-40B4-BE49-F238E27FC236}">
                <a16:creationId xmlns:a16="http://schemas.microsoft.com/office/drawing/2014/main" id="{365D413D-7501-0269-CFA3-A36577F9F1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Rabies Access status and PEP population targets</a:t>
            </a:r>
          </a:p>
        </p:txBody>
      </p:sp>
      <p:sp>
        <p:nvSpPr>
          <p:cNvPr id="284" name="Text Placeholder 283">
            <a:extLst>
              <a:ext uri="{FF2B5EF4-FFF2-40B4-BE49-F238E27FC236}">
                <a16:creationId xmlns:a16="http://schemas.microsoft.com/office/drawing/2014/main" id="{388CDE2E-E13A-67DD-491C-3786A2D0CDEB}"/>
              </a:ext>
            </a:extLst>
          </p:cNvPr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cess status at baseline (2025): Limited</a:t>
            </a:r>
          </a:p>
        </p:txBody>
      </p: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4C126878-802C-07C9-7F81-91C6478B462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5945273"/>
              </p:ext>
            </p:extLst>
          </p:nvPr>
        </p:nvGraphicFramePr>
        <p:xfrm>
          <a:off x="808038" y="1400175"/>
          <a:ext cx="5191125" cy="4529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6"/>
          </a:graphicData>
        </a:graphic>
      </p:graphicFrame>
      <p:cxnSp>
        <p:nvCxnSpPr>
          <p:cNvPr id="359" name="Straight Connector 358">
            <a:extLst>
              <a:ext uri="{FF2B5EF4-FFF2-40B4-BE49-F238E27FC236}">
                <a16:creationId xmlns:a16="http://schemas.microsoft.com/office/drawing/2014/main" id="{D95CD3F6-C6D6-E0F5-115E-41ED50E31D0F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1484313" y="5156200"/>
            <a:ext cx="80963" cy="142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F5D657D3-B77E-B709-D20A-64BF6535A676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2320925" y="5145088"/>
            <a:ext cx="8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0389919-5A09-2DE0-59A9-D6A39E42D1E4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1484313" y="5672138"/>
            <a:ext cx="80962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ED8F2BC-1F33-2859-1272-2D7795356FA0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 flipH="1">
            <a:off x="2320925" y="4835525"/>
            <a:ext cx="8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45C7D682-C37C-6CBD-54A4-EF90C9F099A1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H="1" flipV="1">
            <a:off x="1484313" y="5376863"/>
            <a:ext cx="80963" cy="142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880B693-A51A-A7ED-A0CC-84260D44A883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2320925" y="5586413"/>
            <a:ext cx="8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21" name="Text Placeholder 2">
            <a:extLst>
              <a:ext uri="{FF2B5EF4-FFF2-40B4-BE49-F238E27FC236}">
                <a16:creationId xmlns:a16="http://schemas.microsoft.com/office/drawing/2014/main" id="{F811A69A-5373-4B7D-AB1C-4EA48302C04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565275" y="5273675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462FF0A-CDE3-4DC8-AC83-D11C19241915}" type="datetime'''''''''''''''''''''''''1''''''7''''%'''''">
              <a:rPr lang="en-US" altLang="en-US" sz="1400" smtClean="0">
                <a:effectLst/>
                <a:cs typeface="+mn-cs"/>
              </a:rPr>
              <a:pPr/>
              <a:t>17%</a:t>
            </a:fld>
            <a:endParaRPr lang="en-US" sz="1400" dirty="0">
              <a:cs typeface="+mn-cs"/>
            </a:endParaRPr>
          </a:p>
        </p:txBody>
      </p:sp>
      <p:sp useBgFill="1">
        <p:nvSpPr>
          <p:cNvPr id="353" name="Text Placeholder 2">
            <a:extLst>
              <a:ext uri="{FF2B5EF4-FFF2-40B4-BE49-F238E27FC236}">
                <a16:creationId xmlns:a16="http://schemas.microsoft.com/office/drawing/2014/main" id="{CC11DF8A-926A-3070-CFB4-218121A86BE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565275" y="5038725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D0B6F31-59B2-4E17-AB6E-72C7DE4C35D6}" type="datetime'''''''''''''''''''''''''''''''''''12''''''''''''''''''%'''''">
              <a:rPr lang="en-US" altLang="en-US" sz="1400" smtClean="0">
                <a:cs typeface="+mn-cs"/>
              </a:rPr>
              <a:pPr/>
              <a:t>12%</a:t>
            </a:fld>
            <a:endParaRPr lang="en-US" sz="1400" dirty="0">
              <a:cs typeface="+mn-cs"/>
            </a:endParaRPr>
          </a:p>
        </p:txBody>
      </p:sp>
      <p:sp>
        <p:nvSpPr>
          <p:cNvPr id="355" name="Text Placeholder 2">
            <a:extLst>
              <a:ext uri="{FF2B5EF4-FFF2-40B4-BE49-F238E27FC236}">
                <a16:creationId xmlns:a16="http://schemas.microsoft.com/office/drawing/2014/main" id="{D0A392D3-E89E-FA8C-41C6-DB89F6D5A43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106488" y="478631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DAF11D3-DECB-41EA-8D66-867C51BB625B}" type="datetime'''''''''''''''''''''''''''''''''2''''''6%'''">
              <a:rPr lang="en-US" altLang="en-US" sz="1400" smtClean="0">
                <a:effectLst/>
                <a:cs typeface="+mn-cs"/>
              </a:rPr>
              <a:pPr/>
              <a:t>26%</a:t>
            </a:fld>
            <a:endParaRPr lang="en-US" sz="1400" dirty="0">
              <a:cs typeface="+mn-cs"/>
            </a:endParaRPr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106488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E1E6206-021F-49BE-AABF-A17818E342AA}" type="datetime'''2''0''''''''''''''''''''''''2''''''''''''''''''5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</a:t>
            </a:fld>
            <a:endParaRPr lang="en-US" sz="1400" dirty="0">
              <a:cs typeface="+mn-cs"/>
            </a:endParaRPr>
          </a:p>
        </p:txBody>
      </p:sp>
      <p:sp useBgFill="1">
        <p:nvSpPr>
          <p:cNvPr id="11" name="Text Placeholder 2">
            <a:extLst>
              <a:ext uri="{FF2B5EF4-FFF2-40B4-BE49-F238E27FC236}">
                <a16:creationId xmlns:a16="http://schemas.microsoft.com/office/drawing/2014/main" id="{7EFDFB1B-8D36-50EB-91B1-A860123CBA4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401888" y="5468938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B4BF7F1-6242-47EA-9698-BB47EFE0904E}" type="datetime'2''''''''''''''''''''''''''8''''%'''''''''''''''''''''''">
              <a:rPr lang="en-US" altLang="en-US" sz="1400" smtClean="0">
                <a:effectLst/>
                <a:cs typeface="+mn-cs"/>
              </a:rPr>
              <a:pPr/>
              <a:t>28%</a:t>
            </a:fld>
            <a:endParaRPr lang="en-US" sz="1400" dirty="0">
              <a:cs typeface="+mn-cs"/>
            </a:endParaRPr>
          </a:p>
        </p:txBody>
      </p:sp>
      <p:sp useBgFill="1">
        <p:nvSpPr>
          <p:cNvPr id="24" name="Text Placeholder 2">
            <a:extLst>
              <a:ext uri="{FF2B5EF4-FFF2-40B4-BE49-F238E27FC236}">
                <a16:creationId xmlns:a16="http://schemas.microsoft.com/office/drawing/2014/main" id="{51813EC2-25D8-3901-75F5-995465A6555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401888" y="5027613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079E66E-545D-4BA1-BFFA-FB7AFA40CBA1}" type="datetime'''''''''''''''''''''''''''''''2''0''''''''''''''''''''''%'''">
              <a:rPr lang="en-US" altLang="en-US" sz="1400" smtClean="0">
                <a:effectLst/>
                <a:cs typeface="+mn-cs"/>
              </a:rPr>
              <a:pPr/>
              <a:t>20%</a:t>
            </a:fld>
            <a:endParaRPr lang="en-US" sz="1400" dirty="0">
              <a:cs typeface="+mn-cs"/>
            </a:endParaRPr>
          </a:p>
        </p:txBody>
      </p:sp>
      <p:sp>
        <p:nvSpPr>
          <p:cNvPr id="36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54025" y="2768600"/>
            <a:ext cx="234950" cy="1792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+mn-cs"/>
              </a:rPr>
              <a:t>Total number of doses </a:t>
            </a:r>
          </a:p>
        </p:txBody>
      </p:sp>
      <p:sp useBgFill="1">
        <p:nvSpPr>
          <p:cNvPr id="19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401888" y="4718050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B251A1F-5A71-44E6-864C-898386DEF4B5}" type="datetime'1''''''''''''''''''''''''''''''4''''''''''''''%'''">
              <a:rPr lang="en-US" altLang="en-US" sz="1400" smtClean="0">
                <a:effectLst/>
                <a:cs typeface="+mn-cs"/>
              </a:rPr>
              <a:pPr/>
              <a:t>14%</a:t>
            </a:fld>
            <a:endParaRPr lang="en-US" sz="1400" dirty="0">
              <a:cs typeface="+mn-cs"/>
            </a:endParaRPr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943100" y="431641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5E8930-78E6-47D3-84D9-89923FB1BA28}" type="datetime'''''''''''''''''3''''''''''''''''''''''''''''''''''0%'''">
              <a:rPr lang="en-US" altLang="en-US" sz="1400" smtClean="0">
                <a:effectLst/>
                <a:cs typeface="+mn-cs"/>
              </a:rPr>
              <a:pPr/>
              <a:t>30%</a:t>
            </a:fld>
            <a:endParaRPr lang="en-US" sz="1400" dirty="0">
              <a:cs typeface="+mn-cs"/>
            </a:endParaRPr>
          </a:p>
        </p:txBody>
      </p:sp>
      <p:sp>
        <p:nvSpPr>
          <p:cNvPr id="27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943100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6060FC5-440A-415B-AA2D-B98419A97FF4}" type="datetime'202''''6''''''''''''''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6</a:t>
            </a:fld>
            <a:endParaRPr lang="en-US" sz="1400" dirty="0">
              <a:cs typeface="+mn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6B31BCB-3B8C-D942-C1FF-190CDCCFA98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781300" y="538321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A277AD3-996A-4840-9935-B66347B2DF98}" type="datetime'2''''''''9''''''''''''''''''%'''''''">
              <a:rPr lang="en-US" altLang="en-US" sz="1400" smtClean="0">
                <a:effectLst/>
                <a:cs typeface="+mn-cs"/>
              </a:rPr>
              <a:pPr/>
              <a:t>29%</a:t>
            </a:fld>
            <a:endParaRPr lang="en-US" sz="1400" dirty="0">
              <a:cs typeface="+mn-cs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72DD424-9116-FBFC-0923-03C27A491A7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781300" y="47942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5D9EC86-5DD6-40FC-BA9A-EF71A7E57191}" type="datetime'2''''''''''''''''''''''''''''''''''''''''''''0''''''''''''''%'">
              <a:rPr lang="en-US" altLang="en-US" sz="1400" smtClean="0">
                <a:solidFill>
                  <a:schemeClr val="bg1"/>
                </a:solidFill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781300" y="43830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05BA6D0-AD69-4247-80B6-6BB5160DC0B9}" type="datetime'''''''''''''''''1''''''4''''''%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4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781300" y="38481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52B16D0-0365-4532-9D00-48DA3DB74D42}" type="datetime'''''''''3''1''''''''''''''''''''''%'''''''''''''''''">
              <a:rPr lang="en-US" altLang="en-US" sz="14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1%</a:t>
            </a:fld>
            <a:endParaRPr lang="en-US" sz="1400" dirty="0">
              <a:cs typeface="+mn-cs"/>
            </a:endParaRPr>
          </a:p>
        </p:txBody>
      </p:sp>
      <p:sp>
        <p:nvSpPr>
          <p:cNvPr id="27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781300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F47A7F9-114B-4EB1-B933-DF04DAA764A1}" type="datetime'2''''''''''''''''''''''0''''''''''''''''''''''2''''''7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7</a:t>
            </a:fld>
            <a:endParaRPr lang="en-US" sz="1400" dirty="0">
              <a:cs typeface="+mn-cs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3A3C32A-52A9-DBA1-6F1C-50C86C37EC8E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619500" y="52959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428E484-ADC3-4002-A4F1-50A120A6B3EF}" type="datetime'2''''''''''9''''''''''%'''''''''''''''''''''''''''''''''''">
              <a:rPr lang="en-US" altLang="en-US" sz="1400" smtClean="0">
                <a:cs typeface="+mn-cs"/>
              </a:rPr>
              <a:pPr/>
              <a:t>29%</a:t>
            </a:fld>
            <a:endParaRPr lang="en-US" sz="1400" dirty="0">
              <a:cs typeface="+mn-cs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FB169E6-B4B4-69C8-A959-2A57E21575C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619500" y="45608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6E6A053-75AA-4ADF-BD22-BA54C3763320}" type="datetime'''''''''2''''''''''''''''''''''''''''''1''''''''''''''''%'">
              <a:rPr lang="en-US" altLang="en-US" sz="1400" smtClean="0">
                <a:solidFill>
                  <a:schemeClr val="bg1"/>
                </a:solidFill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1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0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619500" y="404653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CE6DC88-51E7-40B7-8FD0-B0D22C963A62}" type="datetime'1''''''4''''''''''''''''''''''''%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4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0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619500" y="33797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5AD6B12-AD79-42AD-A16D-3570D3C090E9}" type="datetime'3''''''''''''''''''''''''''''''''''''''''''''''''''1%'''''''">
              <a:rPr lang="en-US" altLang="en-US" sz="14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1%</a:t>
            </a:fld>
            <a:endParaRPr lang="en-US" sz="1400" dirty="0">
              <a:cs typeface="+mn-cs"/>
            </a:endParaRPr>
          </a:p>
        </p:txBody>
      </p:sp>
      <p:sp>
        <p:nvSpPr>
          <p:cNvPr id="279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619500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837169C-54A3-48FB-B9B3-4A43D97BE2BB}" type="datetime'''''''''''''2''''''''''''''''''''''0''''''''2''''''8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8</a:t>
            </a:fld>
            <a:endParaRPr lang="en-US" sz="1400" dirty="0">
              <a:cs typeface="+mn-cs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F5624F9-440A-3749-26CF-D24A525BCBD3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456113" y="521017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53A50AB-742E-4116-B383-5A1FE1EC9D1C}" type="datetime'''''''''''3''''''''''''0''''''''''''''''''''''''''''''''''''%'">
              <a:rPr lang="en-US" altLang="en-US" sz="1400" smtClean="0">
                <a:cs typeface="+mn-cs"/>
              </a:rPr>
              <a:pPr/>
              <a:t>30%</a:t>
            </a:fld>
            <a:endParaRPr lang="en-US" sz="1400" dirty="0">
              <a:cs typeface="+mn-cs"/>
            </a:endParaRPr>
          </a:p>
        </p:txBody>
      </p:sp>
      <p:sp>
        <p:nvSpPr>
          <p:cNvPr id="257" name="Text Placeholder 2">
            <a:extLst>
              <a:ext uri="{FF2B5EF4-FFF2-40B4-BE49-F238E27FC236}">
                <a16:creationId xmlns:a16="http://schemas.microsoft.com/office/drawing/2014/main" id="{1D25E232-17E8-B0AD-C148-E5CCA3CEBC4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456113" y="432911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6E9EC8F-C69A-4809-AC49-771E7D085596}" type="datetime'''2''''''''''''1''''''''''''''''''''''''''''''''''''%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/>
              <a:t>21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1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456113" y="371157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C612634-0D67-49C3-B18F-C1251B5BDD3B}" type="datetime'''''''''''''''''''''1''''''''''''''''5''''''%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5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1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456113" y="291147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34C06F7-4E48-4FBF-B8C4-E018DF1512FA}" type="datetime'''''''''''''''''''''''''3''''1''''''''''%'''">
              <a:rPr lang="en-US" altLang="en-US" sz="1400" smtClean="0">
                <a:effectLst/>
                <a:cs typeface="+mn-cs"/>
              </a:rPr>
              <a:pPr/>
              <a:t>31%</a:t>
            </a:fld>
            <a:endParaRPr lang="en-US" sz="1400" dirty="0">
              <a:cs typeface="+mn-cs"/>
            </a:endParaRPr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4456113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30E2292-4CDE-4080-A0A2-2DCDE4A63555}" type="datetime'''''''''''''''''''''''''2''''''''''''''''''''''''02''9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9</a:t>
            </a:fld>
            <a:endParaRPr lang="en-US" sz="1400" dirty="0">
              <a:cs typeface="+mn-cs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81EE6AF-8538-0B27-B363-B2FFA0E3FE0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294313" y="51244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996A4E9-AA3D-4843-B18C-B0FA419C2696}" type="datetime'''''''''3''''''''''''''''''''''''''0''''''''''''%'''''''''">
              <a:rPr lang="en-US" altLang="en-US" sz="1400" smtClean="0">
                <a:cs typeface="+mn-cs"/>
              </a:rPr>
              <a:pPr/>
              <a:t>30%</a:t>
            </a:fld>
            <a:endParaRPr lang="en-US" sz="1400" dirty="0">
              <a:cs typeface="+mn-cs"/>
            </a:endParaRPr>
          </a:p>
        </p:txBody>
      </p:sp>
      <p:sp>
        <p:nvSpPr>
          <p:cNvPr id="264" name="Text Placeholder 2">
            <a:extLst>
              <a:ext uri="{FF2B5EF4-FFF2-40B4-BE49-F238E27FC236}">
                <a16:creationId xmlns:a16="http://schemas.microsoft.com/office/drawing/2014/main" id="{F6272AEB-C3E6-4741-3184-380DFC4425B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294313" y="40957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DF32F2C-0BDB-4380-8097-A50FEFAA2757}" type="datetime'''''''''''''''''''''''''''2''''''''''''''''1''''''''''%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1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294313" y="337661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03D25A7-FE1F-43BB-9CAB-FDEAA19D5601}" type="datetime'''''''1''''''''''5%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5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294313" y="244316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A4E3758-350A-4240-A7D5-38B9A4C483E9}" type="datetime'3''''1''''''''''''%'''">
              <a:rPr lang="en-US" altLang="en-US" sz="1400" smtClean="0">
                <a:effectLst/>
                <a:cs typeface="+mn-cs"/>
              </a:rPr>
              <a:pPr/>
              <a:t>31%</a:t>
            </a:fld>
            <a:endParaRPr lang="en-US" sz="1400" dirty="0">
              <a:cs typeface="+mn-cs"/>
            </a:endParaRPr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5294313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DAC84FB-9A81-4143-940A-3C443DA54912}" type="datetime'2''''''''''''0''''''3''''''''''0''''''''''''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30</a:t>
            </a:fld>
            <a:endParaRPr lang="en-US" sz="1400" dirty="0">
              <a:cs typeface="+mn-cs"/>
            </a:endParaRPr>
          </a:p>
        </p:txBody>
      </p:sp>
      <p:sp useBgFill="1">
        <p:nvSpPr>
          <p:cNvPr id="10" name="Text Placeholder 2">
            <a:extLst>
              <a:ext uri="{FF2B5EF4-FFF2-40B4-BE49-F238E27FC236}">
                <a16:creationId xmlns:a16="http://schemas.microsoft.com/office/drawing/2014/main" id="{344D838A-9CE9-86A2-D9C8-12C4E3E9ED9B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1565275" y="5554663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C4AAC5C-DC68-41F4-AB85-90EAFC9D11B6}" type="datetime'''''''''''2''''5''''%'''''''''''''''''''''''''''''''">
              <a:rPr lang="en-US" altLang="en-US" sz="1400" smtClean="0">
                <a:effectLst/>
                <a:cs typeface="+mn-cs"/>
              </a:rPr>
              <a:pPr/>
              <a:t>25%</a:t>
            </a:fld>
            <a:endParaRPr lang="en-US" sz="1400" dirty="0">
              <a:cs typeface="+mn-cs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1851025" y="3738563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4592149-B612-41B3-8A35-9BBAC554D713}" type="datetime'''''4''''''''''''''''''6'''''''''''',''01''''''''''6'''''''">
              <a:rPr lang="en-US" altLang="en-US" sz="1400" b="1" smtClean="0">
                <a:cs typeface="+mn-cs"/>
              </a:rPr>
              <a:pPr/>
              <a:t>46,016</a:t>
            </a:fld>
            <a:endParaRPr lang="en-US" sz="1400" b="1" dirty="0">
              <a:cs typeface="+mn-cs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2693989" y="3179763"/>
            <a:ext cx="5826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7923C05-8268-4404-BB0F-042A0EBD74B0}" type="datetime'''''''''6''''''''''0'''''''''''''''',''''1''1''''''9'">
              <a:rPr lang="en-US" altLang="en-US" sz="1400" b="1" smtClean="0">
                <a:cs typeface="+mn-cs"/>
              </a:rPr>
              <a:pPr/>
              <a:t>60,119</a:t>
            </a:fld>
            <a:endParaRPr lang="en-US" sz="1400" b="1" dirty="0">
              <a:cs typeface="+mn-cs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3527425" y="2619375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F5A1223-1EF6-4BB6-9E8B-44F178FFD0DB}" type="datetime'''''''''''7''''''4'''',''''''''''22''''''''''''''2'''''''''">
              <a:rPr lang="en-US" altLang="en-US" sz="1400" b="1" smtClean="0">
                <a:cs typeface="+mn-cs"/>
              </a:rPr>
              <a:pPr/>
              <a:t>74,222</a:t>
            </a:fld>
            <a:endParaRPr lang="en-US" sz="1400" b="1" dirty="0">
              <a:cs typeface="+mn-cs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4364038" y="2060575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8FA4E61-2EC8-40F2-87A4-3BC395AFF0BD}" type="datetime'''''''''''''''''''''8''''''''''''''8'''''''''',''''3''24'''''">
              <a:rPr lang="en-US" altLang="en-US" sz="1400" b="1" smtClean="0">
                <a:cs typeface="+mn-cs"/>
              </a:rPr>
              <a:pPr/>
              <a:t>88,324</a:t>
            </a:fld>
            <a:endParaRPr lang="en-US" sz="1400" b="1" dirty="0"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153025" y="1500188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DBF702F-009C-4D27-B3E2-287F206BD8F9}" type="datetime'''''''1''0''''2,''4''''''''''''''''''''''''''''27'''''''''''">
              <a:rPr lang="en-US" altLang="en-US" sz="1400" b="1" smtClean="0">
                <a:cs typeface="+mn-cs"/>
              </a:rPr>
              <a:pPr/>
              <a:t>102,427</a:t>
            </a:fld>
            <a:endParaRPr lang="en-US" sz="1400" b="1" dirty="0">
              <a:cs typeface="+mn-cs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1014413" y="4178300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45F62AC-4509-45E7-A98B-4DCB76C8AAFF}" type="datetime'''3''''''''''5'''''''''',''4''8''''5'">
              <a:rPr lang="en-US" altLang="en-US" sz="1400" b="1" smtClean="0">
                <a:cs typeface="+mn-cs"/>
              </a:rPr>
              <a:pPr/>
              <a:t>35,485</a:t>
            </a:fld>
            <a:endParaRPr lang="en-US" sz="1400" b="1" dirty="0">
              <a:cs typeface="+mn-cs"/>
            </a:endParaRPr>
          </a:p>
        </p:txBody>
      </p:sp>
      <p:sp>
        <p:nvSpPr>
          <p:cNvPr id="287" name="Text Placeholder 2">
            <a:extLst>
              <a:ext uri="{FF2B5EF4-FFF2-40B4-BE49-F238E27FC236}">
                <a16:creationId xmlns:a16="http://schemas.microsoft.com/office/drawing/2014/main" id="{E5272425-1163-B7E0-5039-1EA5CE134FC7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1992314" y="3973513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ABE5FD4-EEAF-4F14-8FA5-4923E1E80E5C}" type="datetime'''''8%'''''''''''''''''''''''''''''''''">
              <a:rPr lang="en-US" altLang="en-US" sz="1400" smtClean="0">
                <a:effectLst/>
                <a:cs typeface="+mn-cs"/>
              </a:rPr>
              <a:pPr/>
              <a:t>8%</a:t>
            </a:fld>
            <a:endParaRPr lang="en-US" sz="1400" dirty="0">
              <a:cs typeface="+mn-cs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823D1D1C-FC3D-13AA-A5A4-83C1EE9D68AE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2830514" y="3414713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B375338-B125-4C9C-9871-23EDBC9DC27C}" type="datetime'''''''''''''''''''''6''''%'''''''''">
              <a:rPr lang="en-US" altLang="en-US" sz="14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6%</a:t>
            </a:fld>
            <a:endParaRPr lang="en-US" sz="1400" dirty="0">
              <a:cs typeface="+mn-cs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3BC3374D-9E63-1D09-66F1-97EA83C86FCF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3668714" y="2854325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5573538-8EB1-4CF2-B8A4-1FFCD4E8F4E4}" type="datetime'''''5''''''''''''''''''''''''''''''''''''''''''''''''%'''''">
              <a:rPr lang="en-US" altLang="en-US" sz="1400" smtClean="0"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5%</a:t>
            </a:fld>
            <a:endParaRPr lang="en-US" sz="1400" dirty="0">
              <a:cs typeface="+mn-cs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2ACF3324-06B9-7550-B878-A97D86C48A5B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4505326" y="2295525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EC41E86-5E79-402F-B3AE-A56424DE2357}" type="datetime'''4''''''''''''''''''''%'''''''''">
              <a:rPr lang="en-US" altLang="en-US" sz="1400" smtClean="0">
                <a:effectLst/>
                <a:cs typeface="+mn-cs"/>
              </a:rPr>
              <a:pPr/>
              <a:t>4%</a:t>
            </a:fld>
            <a:endParaRPr lang="en-US" sz="1400" dirty="0">
              <a:cs typeface="+mn-cs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2575FDA3-E6AA-5714-5D6D-55B9521761FA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5343526" y="1735138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15839B7-A1C1-469F-8306-BA97A22E5EEB}" type="datetime'''3''''%'''''''''''''''''">
              <a:rPr lang="en-US" altLang="en-US" sz="1400" smtClean="0">
                <a:effectLst/>
                <a:cs typeface="+mn-cs"/>
              </a:rPr>
              <a:pPr/>
              <a:t>3%</a:t>
            </a:fld>
            <a:endParaRPr lang="en-US" sz="1400" dirty="0">
              <a:cs typeface="+mn-cs"/>
            </a:endParaRPr>
          </a:p>
        </p:txBody>
      </p:sp>
      <p:sp>
        <p:nvSpPr>
          <p:cNvPr id="286" name="Text Placeholder 2">
            <a:extLst>
              <a:ext uri="{FF2B5EF4-FFF2-40B4-BE49-F238E27FC236}">
                <a16:creationId xmlns:a16="http://schemas.microsoft.com/office/drawing/2014/main" id="{F45E1333-0AE1-4B2B-7957-790579BDC04E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1106488" y="446246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B2AF37C-2457-4BA9-8AB4-6CB588F8271F}" type="datetime'''''''2''''''''''''''''''''''''0''%'''''''''''''''">
              <a:rPr lang="en-US" altLang="en-US" sz="1400" smtClean="0">
                <a:effectLst/>
                <a:cs typeface="+mn-cs"/>
              </a:rPr>
              <a:pPr/>
              <a:t>20%</a:t>
            </a:fld>
            <a:endParaRPr lang="en-US" sz="1400" dirty="0">
              <a:cs typeface="+mn-cs"/>
            </a:endParaRPr>
          </a:p>
        </p:txBody>
      </p:sp>
      <p:graphicFrame>
        <p:nvGraphicFramePr>
          <p:cNvPr id="66" name="Chart 65">
            <a:extLst>
              <a:ext uri="{FF2B5EF4-FFF2-40B4-BE49-F238E27FC236}">
                <a16:creationId xmlns:a16="http://schemas.microsoft.com/office/drawing/2014/main" id="{0FC7B7ED-9C80-4A46-CDF7-15B4DE149306}"/>
              </a:ext>
            </a:extLst>
          </p:cNvPr>
          <p:cNvGraphicFramePr/>
          <p:nvPr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2780198921"/>
              </p:ext>
            </p:extLst>
          </p:nvPr>
        </p:nvGraphicFramePr>
        <p:xfrm>
          <a:off x="6684963" y="2716213"/>
          <a:ext cx="4824412" cy="2524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7"/>
          </a:graphicData>
        </a:graphic>
      </p:graphicFrame>
      <p:sp>
        <p:nvSpPr>
          <p:cNvPr id="256" name="Text Placeholder 2">
            <a:extLst>
              <a:ext uri="{FF2B5EF4-FFF2-40B4-BE49-F238E27FC236}">
                <a16:creationId xmlns:a16="http://schemas.microsoft.com/office/drawing/2014/main" id="{DE09F304-175B-96DB-AE61-3AEC9389FB80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7518400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74F0A36-BED9-4B79-8F40-25F28BC9461A}" type="datetime'''''''PEP ''''''p''o''pul''''a''ti''o''''n'' ''(''Y''r 5)'''''">
              <a:rPr lang="en-US" altLang="en-US" sz="1400" smtClean="0">
                <a:cs typeface="+mn-cs"/>
              </a:rPr>
              <a:pPr/>
              <a:t>PEP population (Yr 5)</a:t>
            </a:fld>
            <a:endParaRPr lang="en-US" sz="1400" dirty="0">
              <a:cs typeface="+mn-cs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7BE6E050-5201-1D1E-1E46-93A78C6F8CC0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683625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2536EC2-61B8-41C1-A32F-13CFC9164DD9}" type="datetime'''PE''P ''''''''popu''''''''l''a''t''i''o''''n'' ''(Y''r 10)'">
              <a:rPr lang="en-US" altLang="en-US" sz="1400" smtClean="0">
                <a:cs typeface="+mn-cs"/>
              </a:rPr>
              <a:pPr/>
              <a:t>PEP population (Yr 10)</a:t>
            </a:fld>
            <a:endParaRPr lang="en-US" sz="1400" dirty="0">
              <a:cs typeface="+mn-cs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9847263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AE82510-8AEF-4150-84FF-ED5DCA1B109C}" type="datetime'PE''P popul''''a''''''''ti''''on ''''(''Y''r ''1''5'''')'''''">
              <a:rPr lang="en-US" altLang="en-US" sz="1400" smtClean="0">
                <a:cs typeface="+mn-cs"/>
              </a:rPr>
              <a:pPr/>
              <a:t>PEP population (Yr 15)</a:t>
            </a:fld>
            <a:endParaRPr lang="en-US" sz="1400" dirty="0">
              <a:cs typeface="+mn-cs"/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11012488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CFAEDDA-1FD8-412F-905E-C172240463A3}" type="datetime'''''''''PE''P'''''' po''pu''''l''atio''n (''Yr ''20'''''''')'">
              <a:rPr lang="en-US" altLang="en-US" sz="1400" smtClean="0">
                <a:cs typeface="+mn-cs"/>
              </a:rPr>
              <a:pPr/>
              <a:t>PEP population (Yr 20)</a:t>
            </a:fld>
            <a:endParaRPr lang="en-US" sz="1400" dirty="0">
              <a:cs typeface="+mn-cs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136F67E0-4CCE-72CF-73ED-6D97CB526F1F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6353175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6D7CD5E-E4EA-401C-88D7-A0538A91FA42}" type="datetime'P''''''''''EP ''p''''opu''''l''''ati''''''''o''''n'''' (Yr 0)'">
              <a:rPr lang="en-US" altLang="en-US" sz="1400" smtClean="0">
                <a:cs typeface="+mn-cs"/>
              </a:rPr>
              <a:pPr/>
              <a:t>PEP population (Yr 0)</a:t>
            </a:fld>
            <a:endParaRPr lang="en-US" sz="1400" dirty="0">
              <a:cs typeface="+mn-cs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6521450" y="4595813"/>
            <a:ext cx="4937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5977158-734C-4721-B21A-536055A6153D}" type="datetime'8'''''''',''''7''''''''''''5''''''''''''''''''''0''''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8,750</a:t>
            </a:fld>
            <a:endParaRPr lang="en-US" sz="1400" dirty="0">
              <a:cs typeface="+mn-cs"/>
            </a:endParaRPr>
          </a:p>
        </p:txBody>
      </p:sp>
      <p:sp useBgFill="1">
        <p:nvSpPr>
          <p:cNvPr id="61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7637463" y="4054475"/>
            <a:ext cx="592138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5368642-2661-4D98-96EB-0AC1368B9165}" type="datetime'3''''''''''''''''0'''''',''''4''''''''''''''''''84''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0,484</a:t>
            </a:fld>
            <a:endParaRPr lang="en-US" sz="1400" dirty="0">
              <a:cs typeface="+mn-cs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8802688" y="2455863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5A88AE2-D9D8-4B47-AA37-57D8EEBA5DAD}" type="datetime'''''94'',''''''''''''''''''''''4''''''''74''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94,474</a:t>
            </a:fld>
            <a:endParaRPr lang="en-US" sz="1400" dirty="0">
              <a:cs typeface="+mn-cs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9966325" y="2455863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542D8B6-D34E-48DD-ABF9-C4E94FFD7330}" type="datetime'''''9''''''''4,''''''''''47''''''4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94,474</a:t>
            </a:fld>
            <a:endParaRPr lang="en-US" sz="1400" dirty="0">
              <a:cs typeface="+mn-cs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11131550" y="2455863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F0D511D-C881-4ED5-8412-F7F38E4861AA}" type="datetime'''''9''4'''''',''''4''''''''7''''''''''''4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94,474</a:t>
            </a:fld>
            <a:endParaRPr lang="en-US" sz="1400" dirty="0"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DA9C1F6-9840-FAAD-F8BD-DB729D5093FC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1127125" y="1860550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F415B150-5153-6156-A945-CF3561778E2C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1127125" y="2146300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8919408-C1FA-4A01-B5AE-0CD56CA1210A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1127125" y="2432050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B672D7A-2D42-990E-5A34-7F62CC2DC467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1127125" y="271780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A9364D5-8C1D-49DF-3664-0951C969FBA7}"/>
              </a:ext>
            </a:extLst>
          </p:cNvPr>
          <p:cNvSpPr/>
          <p:nvPr>
            <p:custDataLst>
              <p:tags r:id="rId67"/>
            </p:custDataLst>
          </p:nvPr>
        </p:nvSpPr>
        <p:spPr bwMode="auto">
          <a:xfrm>
            <a:off x="1127125" y="1574800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1428749" y="1839913"/>
            <a:ext cx="74295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B0A225E-6CD0-41F3-8835-D017301CCD64}" type="datetime'''''''''''''''W''a''''''s''''''''''''t''''''ag''''e'''''' '''">
              <a:rPr lang="en-US" altLang="en-US" sz="1400" smtClean="0">
                <a:cs typeface="+mn-cs"/>
              </a:rPr>
              <a:pPr/>
              <a:t>Wastage </a:t>
            </a:fld>
            <a:endParaRPr lang="en-US" sz="1400" dirty="0"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1428750" y="2125663"/>
            <a:ext cx="12795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A664B9D-6C0A-41B5-9E0D-A6D8078537D4}" type="datetime'''T''''''a''rg''et ''''3''rd'' d''''''''''o''''''''s''e'''' '">
              <a:rPr lang="en-US" altLang="en-US" sz="1400" smtClean="0">
                <a:cs typeface="+mn-cs"/>
              </a:rPr>
              <a:pPr/>
              <a:t>Target 3rd dose </a:t>
            </a:fld>
            <a:endParaRPr lang="en-US" sz="1400" dirty="0">
              <a:cs typeface="+mn-cs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1428750" y="2411413"/>
            <a:ext cx="13192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43D8FAB-D25D-40FF-BF8F-C71002C66FF6}" type="datetime'''T''''arget ''''2''''n''''''d'''' ''do''''s''''''e'' '''''">
              <a:rPr lang="en-US" altLang="en-US" sz="1400" smtClean="0">
                <a:cs typeface="+mn-cs"/>
              </a:rPr>
              <a:pPr/>
              <a:t>Target 2nd dose </a:t>
            </a:fld>
            <a:endParaRPr lang="en-US" sz="1400" dirty="0"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DDBF6AC-C87B-97A9-9BC2-A13A16332DE4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1428750" y="2697163"/>
            <a:ext cx="126047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12DA977-F3B9-4D9F-8054-F7B0E9E85915}" type="datetime'''''T''''''''''''''''''''arge''''t'' 1s''t'''''' dose '">
              <a:rPr lang="en-US" altLang="en-US" sz="1400" smtClean="0">
                <a:cs typeface="+mn-cs"/>
              </a:rPr>
              <a:pPr/>
              <a:t>Target 1st dose </a:t>
            </a:fld>
            <a:endParaRPr lang="en-US" sz="1400" dirty="0">
              <a:cs typeface="+mn-cs"/>
            </a:endParaRPr>
          </a:p>
        </p:txBody>
      </p:sp>
      <p:sp>
        <p:nvSpPr>
          <p:cNvPr id="285" name="Text Placeholder 2">
            <a:extLst>
              <a:ext uri="{FF2B5EF4-FFF2-40B4-BE49-F238E27FC236}">
                <a16:creationId xmlns:a16="http://schemas.microsoft.com/office/drawing/2014/main" id="{3E08A243-9A5D-1F4A-12C7-228E2B028D76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1428750" y="1554163"/>
            <a:ext cx="5191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201C4F9-4C53-4359-9840-6A61BA46A532}" type="datetime'B''''''''''''''u''''''''''''''f''''f''''e''''r'''' '">
              <a:rPr lang="en-US" altLang="en-US" sz="1400" smtClean="0">
                <a:cs typeface="+mn-cs"/>
              </a:rPr>
              <a:pPr/>
              <a:t>Buffer </a:t>
            </a:fld>
            <a:endParaRPr lang="en-US" sz="1400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18883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" name="think-cell data - do not delete" hidden="1">
            <a:extLst>
              <a:ext uri="{FF2B5EF4-FFF2-40B4-BE49-F238E27FC236}">
                <a16:creationId xmlns:a16="http://schemas.microsoft.com/office/drawing/2014/main" id="{C08E85C6-3B60-8DDB-4673-09E8B500D9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5930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6" imgW="353" imgH="353" progId="TCLayout.ActiveDocument.1">
                  <p:embed/>
                </p:oleObj>
              </mc:Choice>
              <mc:Fallback>
                <p:oleObj name="think-cell Slide" r:id="rId76" imgW="353" imgH="353" progId="TCLayout.ActiveDocument.1">
                  <p:embed/>
                  <p:pic>
                    <p:nvPicPr>
                      <p:cNvPr id="7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8E85C6-3B60-8DDB-4673-09E8B500D9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3198CF8F-B7D1-6090-3D08-B7E605AFD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Countries with an expected GAVI application in 2024 –Mali</a:t>
            </a:r>
          </a:p>
        </p:txBody>
      </p:sp>
      <p:sp>
        <p:nvSpPr>
          <p:cNvPr id="283" name="Text Placeholder 282">
            <a:extLst>
              <a:ext uri="{FF2B5EF4-FFF2-40B4-BE49-F238E27FC236}">
                <a16:creationId xmlns:a16="http://schemas.microsoft.com/office/drawing/2014/main" id="{365D413D-7501-0269-CFA3-A36577F9F1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Rabies Access status and PEP population targets</a:t>
            </a:r>
          </a:p>
        </p:txBody>
      </p:sp>
      <p:sp>
        <p:nvSpPr>
          <p:cNvPr id="284" name="Text Placeholder 283">
            <a:extLst>
              <a:ext uri="{FF2B5EF4-FFF2-40B4-BE49-F238E27FC236}">
                <a16:creationId xmlns:a16="http://schemas.microsoft.com/office/drawing/2014/main" id="{388CDE2E-E13A-67DD-491C-3786A2D0CDEB}"/>
              </a:ext>
            </a:extLst>
          </p:cNvPr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cess status at baseline (2025): Limited</a:t>
            </a:r>
          </a:p>
        </p:txBody>
      </p:sp>
      <p:graphicFrame>
        <p:nvGraphicFramePr>
          <p:cNvPr id="261" name="Chart 260">
            <a:extLst>
              <a:ext uri="{FF2B5EF4-FFF2-40B4-BE49-F238E27FC236}">
                <a16:creationId xmlns:a16="http://schemas.microsoft.com/office/drawing/2014/main" id="{40FB1FCC-BD2B-AB4E-FD37-BF1563A11E0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0070993"/>
              </p:ext>
            </p:extLst>
          </p:nvPr>
        </p:nvGraphicFramePr>
        <p:xfrm>
          <a:off x="808038" y="1400175"/>
          <a:ext cx="5191125" cy="4529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8"/>
          </a:graphicData>
        </a:graphic>
      </p:graphicFrame>
      <p:cxnSp>
        <p:nvCxnSpPr>
          <p:cNvPr id="359" name="Straight Connector 358">
            <a:extLst>
              <a:ext uri="{FF2B5EF4-FFF2-40B4-BE49-F238E27FC236}">
                <a16:creationId xmlns:a16="http://schemas.microsoft.com/office/drawing/2014/main" id="{D95CD3F6-C6D6-E0F5-115E-41ED50E31D0F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1484313" y="4935538"/>
            <a:ext cx="80963" cy="15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F5D657D3-B77E-B709-D20A-64BF6535A676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2320925" y="4857750"/>
            <a:ext cx="8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0389919-5A09-2DE0-59A9-D6A39E42D1E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H="1" flipV="1">
            <a:off x="1484313" y="5387975"/>
            <a:ext cx="80962" cy="174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ED8F2BC-1F33-2859-1272-2D7795356FA0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 flipH="1">
            <a:off x="2320925" y="4484688"/>
            <a:ext cx="8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45C7D682-C37C-6CBD-54A4-EF90C9F099A1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H="1">
            <a:off x="1484313" y="5170488"/>
            <a:ext cx="80963" cy="158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880B693-A51A-A7ED-A0CC-84260D44A883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2320925" y="5160963"/>
            <a:ext cx="8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9" name="Straight Connector 258">
            <a:extLst>
              <a:ext uri="{FF2B5EF4-FFF2-40B4-BE49-F238E27FC236}">
                <a16:creationId xmlns:a16="http://schemas.microsoft.com/office/drawing/2014/main" id="{9811672F-642C-D391-7A9E-1599EEC21CF3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1484313" y="5676900"/>
            <a:ext cx="80962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0" name="Straight Connector 259">
            <a:extLst>
              <a:ext uri="{FF2B5EF4-FFF2-40B4-BE49-F238E27FC236}">
                <a16:creationId xmlns:a16="http://schemas.microsoft.com/office/drawing/2014/main" id="{B5E9506A-9B61-8FB4-357F-92FDAE0F1070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>
            <a:off x="2320925" y="5592763"/>
            <a:ext cx="8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5" name="Text Placeholder 2">
            <a:extLst>
              <a:ext uri="{FF2B5EF4-FFF2-40B4-BE49-F238E27FC236}">
                <a16:creationId xmlns:a16="http://schemas.microsoft.com/office/drawing/2014/main" id="{D0A392D3-E89E-FA8C-41C6-DB89F6D5A43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106488" y="451961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A9261C8-647B-483C-9A2A-2FC7F62885B5}" type="datetime'''2''''''''''''''''''''''''0''''%'''''''''''''''''''">
              <a:rPr lang="en-US" altLang="en-US" sz="1400" smtClean="0">
                <a:cs typeface="+mn-cs"/>
              </a:rPr>
              <a:pPr/>
              <a:t>20%</a:t>
            </a:fld>
            <a:endParaRPr lang="en-US" sz="1400" dirty="0">
              <a:cs typeface="+mn-cs"/>
            </a:endParaRPr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106488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E1E6206-021F-49BE-AABF-A17818E342AA}" type="datetime'''2''0''''''''''''''''''''''''2''''''''''''''''''5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</a:t>
            </a:fld>
            <a:endParaRPr lang="en-US" sz="1400" dirty="0">
              <a:cs typeface="+mn-cs"/>
            </a:endParaRPr>
          </a:p>
        </p:txBody>
      </p:sp>
      <p:sp useBgFill="1">
        <p:nvSpPr>
          <p:cNvPr id="11" name="Text Placeholder 2">
            <a:extLst>
              <a:ext uri="{FF2B5EF4-FFF2-40B4-BE49-F238E27FC236}">
                <a16:creationId xmlns:a16="http://schemas.microsoft.com/office/drawing/2014/main" id="{7EFDFB1B-8D36-50EB-91B1-A860123CBA4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401888" y="5043488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B8178C0-B31C-4627-A8FA-6D717FC4698B}" type="datetime'''''''''2''''0''%'''''''''''''''''''''''''''''''''''''''''">
              <a:rPr lang="en-US" altLang="en-US" sz="1400" smtClean="0">
                <a:effectLst/>
                <a:cs typeface="+mn-cs"/>
              </a:rPr>
              <a:pPr/>
              <a:t>20%</a:t>
            </a:fld>
            <a:endParaRPr lang="en-US" sz="1400" dirty="0">
              <a:cs typeface="+mn-cs"/>
            </a:endParaRPr>
          </a:p>
        </p:txBody>
      </p:sp>
      <p:sp useBgFill="1">
        <p:nvSpPr>
          <p:cNvPr id="24" name="Text Placeholder 2">
            <a:extLst>
              <a:ext uri="{FF2B5EF4-FFF2-40B4-BE49-F238E27FC236}">
                <a16:creationId xmlns:a16="http://schemas.microsoft.com/office/drawing/2014/main" id="{51813EC2-25D8-3901-75F5-995465A6555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401888" y="4740275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62A8A3F-3328-4911-AD44-B1A200F7B68B}" type="datetime'''''1''''''''''''''''4''''''''''''''''''''''''''%'">
              <a:rPr lang="en-US" altLang="en-US" sz="1400" smtClean="0">
                <a:effectLst/>
                <a:cs typeface="+mn-cs"/>
              </a:rPr>
              <a:pPr/>
              <a:t>14%</a:t>
            </a:fld>
            <a:endParaRPr lang="en-US" sz="1400" dirty="0">
              <a:cs typeface="+mn-cs"/>
            </a:endParaRPr>
          </a:p>
        </p:txBody>
      </p:sp>
      <p:sp>
        <p:nvSpPr>
          <p:cNvPr id="36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54025" y="2768600"/>
            <a:ext cx="234950" cy="1792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+mn-cs"/>
              </a:rPr>
              <a:t>Total number of doses </a:t>
            </a:r>
          </a:p>
        </p:txBody>
      </p:sp>
      <p:sp useBgFill="1">
        <p:nvSpPr>
          <p:cNvPr id="19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401888" y="4367213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A3FAE3C-1A81-4CE6-80FE-48712B19CAE4}" type="datetime'''''''''''''''''''2''''''''''''''''''''''''9''''''''''%'''''">
              <a:rPr lang="en-US" altLang="en-US" sz="1400" smtClean="0">
                <a:effectLst/>
                <a:cs typeface="+mn-cs"/>
              </a:rPr>
              <a:pPr/>
              <a:t>29%</a:t>
            </a:fld>
            <a:endParaRPr lang="en-US" sz="1400" dirty="0">
              <a:cs typeface="+mn-cs"/>
            </a:endParaRPr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992314" y="4052888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C6AF0DE-E1FE-44DC-8DCA-2D81BDD68FF5}" type="datetime'''''''''''''''8''''''''%'''''''''''''''">
              <a:rPr lang="en-US" altLang="en-US" sz="1400" smtClean="0">
                <a:cs typeface="+mn-cs"/>
              </a:rPr>
              <a:pPr/>
              <a:t>8%</a:t>
            </a:fld>
            <a:endParaRPr lang="en-US" sz="1400" dirty="0">
              <a:cs typeface="+mn-cs"/>
            </a:endParaRPr>
          </a:p>
        </p:txBody>
      </p:sp>
      <p:sp>
        <p:nvSpPr>
          <p:cNvPr id="27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943100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6060FC5-440A-415B-AA2D-B98419A97FF4}" type="datetime'202''''6''''''''''''''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6</a:t>
            </a:fld>
            <a:endParaRPr lang="en-US" sz="1400" dirty="0">
              <a:cs typeface="+mn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6B31BCB-3B8C-D942-C1FF-190CDCCFA98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781300" y="48148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B040D8C-F1B1-4097-89DE-BBE9C9EBDCAF}" type="datetime'''''''''''''2''1''''%''''''''''''''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1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72DD424-9116-FBFC-0923-03C27A491A7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781300" y="44132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730226F-44FC-40F1-8A75-919B509844BC}" type="datetime'''''1''''''''''''''''5''''''''''''''''''''''''%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5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781300" y="391636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9784948-AC3B-41B9-9F88-B59CD9F6AB31}" type="datetime'''2''''''''''''''''''''9%'''''''''''''''''">
              <a:rPr lang="en-US" altLang="en-US" sz="1400" smtClean="0">
                <a:cs typeface="+mn-cs"/>
              </a:rPr>
              <a:pPr/>
              <a:t>29%</a:t>
            </a:fld>
            <a:endParaRPr lang="en-US" sz="1400" dirty="0">
              <a:cs typeface="+mn-cs"/>
            </a:endParaRPr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830514" y="3517900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FB7087B-70BF-4060-A692-D40DF8581B4C}" type="datetime'''''''''''''''''''''''''6''''''''''''''''''''''%'''''''''''''">
              <a:rPr lang="en-US" altLang="en-US" sz="1400" smtClean="0">
                <a:cs typeface="+mn-cs"/>
              </a:rPr>
              <a:pPr/>
              <a:t>6%</a:t>
            </a:fld>
            <a:endParaRPr lang="en-US" sz="1400" dirty="0">
              <a:cs typeface="+mn-cs"/>
            </a:endParaRPr>
          </a:p>
        </p:txBody>
      </p:sp>
      <p:sp>
        <p:nvSpPr>
          <p:cNvPr id="27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781300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F47A7F9-114B-4EB1-B933-DF04DAA764A1}" type="datetime'2''''''''''''''''''''''0''''''''''''''''''''''2''''''7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7</a:t>
            </a:fld>
            <a:endParaRPr lang="en-US" sz="1400" dirty="0">
              <a:cs typeface="+mn-cs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3A3C32A-52A9-DBA1-6F1C-50C86C37EC8E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619500" y="458787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D86080B-BC87-46FD-B01B-E2F5E219A0A4}" type="datetime'''2''''''''''''''''''''''''''''''''''''''1''''''''''''''%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1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FB169E6-B4B4-69C8-A959-2A57E21575C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619500" y="408463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488D79C-F9E0-425B-B8B1-A13C296F5729}" type="datetime'''''''''''1''5''''''''''''''''%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5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0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619500" y="346392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843E516-789C-4E0D-8C82-DFCAEC290B79}" type="datetime'29''''''''%'''''">
              <a:rPr lang="en-US" altLang="en-US" sz="1400" smtClean="0">
                <a:cs typeface="+mn-cs"/>
              </a:rPr>
              <a:pPr/>
              <a:t>29%</a:t>
            </a:fld>
            <a:endParaRPr lang="en-US" sz="1400" dirty="0">
              <a:cs typeface="+mn-cs"/>
            </a:endParaRPr>
          </a:p>
        </p:txBody>
      </p:sp>
      <p:sp>
        <p:nvSpPr>
          <p:cNvPr id="20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668714" y="2984500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A89FBE1-7F1B-4888-9056-AD09EECA134E}" type="datetime'''''''''''''''''''''''''5''''''''''''%'''''''''">
              <a:rPr lang="en-US" altLang="en-US" sz="1400" smtClean="0">
                <a:cs typeface="+mn-cs"/>
              </a:rPr>
              <a:pPr/>
              <a:t>5%</a:t>
            </a:fld>
            <a:endParaRPr lang="en-US" sz="1400" dirty="0">
              <a:cs typeface="+mn-cs"/>
            </a:endParaRPr>
          </a:p>
        </p:txBody>
      </p:sp>
      <p:sp>
        <p:nvSpPr>
          <p:cNvPr id="279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619500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837169C-54A3-48FB-B9B3-4A43D97BE2BB}" type="datetime'''''''''''''2''''''''''''''''''''''0''''''''2''''''8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8</a:t>
            </a:fld>
            <a:endParaRPr lang="en-US" sz="1400" dirty="0">
              <a:cs typeface="+mn-cs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F5624F9-440A-3749-26CF-D24A525BCBD3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456113" y="435927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53F83F9-164C-44C1-B9C3-7C1F83EDF521}" type="datetime'''''''2''''''''1''''''''''''''''''''''''''''''%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1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57" name="Text Placeholder 2">
            <a:extLst>
              <a:ext uri="{FF2B5EF4-FFF2-40B4-BE49-F238E27FC236}">
                <a16:creationId xmlns:a16="http://schemas.microsoft.com/office/drawing/2014/main" id="{1D25E232-17E8-B0AD-C148-E5CCA3CEBC4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456113" y="375602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D62FBBC-1F21-43CC-B83B-8480B18B2E83}" type="datetime'''''''''''''''1''''''''5''''''''''''''''%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5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1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456113" y="30114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FE197BF-D51B-4661-AF93-B07DEA8E3862}" type="datetime'''''''''''''''3''''''0%'''''''''''''''''''''''''''''''''''''">
              <a:rPr lang="en-US" altLang="en-US" sz="1400" smtClean="0">
                <a:cs typeface="+mn-cs"/>
              </a:rPr>
              <a:pPr/>
              <a:t>30%</a:t>
            </a:fld>
            <a:endParaRPr lang="en-US" sz="1400" dirty="0">
              <a:cs typeface="+mn-cs"/>
            </a:endParaRPr>
          </a:p>
        </p:txBody>
      </p:sp>
      <p:sp>
        <p:nvSpPr>
          <p:cNvPr id="21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505326" y="2449513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4A1D3CF-47BC-436B-8D26-273A1D7E7E1C}" type="datetime'''''''''''''''''''''''''''''''4''''''''''''''''%'''''''''">
              <a:rPr lang="en-US" altLang="en-US" sz="1400" smtClean="0">
                <a:cs typeface="+mn-cs"/>
              </a:rPr>
              <a:pPr/>
              <a:t>4%</a:t>
            </a:fld>
            <a:endParaRPr lang="en-US" sz="1400" dirty="0">
              <a:cs typeface="+mn-cs"/>
            </a:endParaRPr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4456113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30E2292-4CDE-4080-A0A2-2DCDE4A63555}" type="datetime'''''''''''''''''''''''''2''''''''''''''''''''''''02''9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9</a:t>
            </a:fld>
            <a:endParaRPr lang="en-US" sz="1400" dirty="0">
              <a:cs typeface="+mn-cs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81EE6AF-8538-0B27-B363-B2FFA0E3FE0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294313" y="413226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795C197-BA5C-4548-A3ED-C739BFC3C9BF}" type="datetime'''2''1''''''''''''''''''''''''''''''''''''''''''''%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1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64" name="Text Placeholder 2">
            <a:extLst>
              <a:ext uri="{FF2B5EF4-FFF2-40B4-BE49-F238E27FC236}">
                <a16:creationId xmlns:a16="http://schemas.microsoft.com/office/drawing/2014/main" id="{F6272AEB-C3E6-4741-3184-380DFC4425B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294313" y="34290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77AF0F9-989F-4D36-927A-86392FFC87E3}" type="datetime'''''''''''''''''''''''''''''''''''''1''''''''''''5''''''%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5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294313" y="256063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22C9452-1F6F-4D94-BB04-40FB81A80F1A}" type="datetime'''3''''''''''''''''''0''''''''''''''''''''''%'''''''">
              <a:rPr lang="en-US" altLang="en-US" sz="1400" smtClean="0">
                <a:cs typeface="+mn-cs"/>
              </a:rPr>
              <a:pPr/>
              <a:t>30%</a:t>
            </a:fld>
            <a:endParaRPr lang="en-US" sz="1400" dirty="0">
              <a:cs typeface="+mn-cs"/>
            </a:endParaRP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343526" y="1916113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F53D3A9-F886-46F4-A36A-7A1C27DE98A4}" type="datetime'''''''''''''''''''''''''''3''''''''%'''''">
              <a:rPr lang="en-US" altLang="en-US" sz="1400" smtClean="0">
                <a:cs typeface="+mn-cs"/>
              </a:rPr>
              <a:pPr/>
              <a:t>3%</a:t>
            </a:fld>
            <a:endParaRPr lang="en-US" sz="1400" dirty="0">
              <a:cs typeface="+mn-cs"/>
            </a:endParaRPr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5294313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DAC84FB-9A81-4143-940A-3C443DA54912}" type="datetime'2''''''''''''0''''''3''''''''''0''''''''''''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30</a:t>
            </a:fld>
            <a:endParaRPr lang="en-US" sz="1400" dirty="0">
              <a:cs typeface="+mn-cs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1014413" y="4241800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02D14A6-19A7-41B9-B515-2BB3CEFC0326}" type="datetime'''''''2''''7'',''''''''7''2''''''''''''''''''5'''''''''''''''">
              <a:rPr lang="en-US" altLang="en-US" sz="1400" b="1" smtClean="0">
                <a:cs typeface="+mn-cs"/>
              </a:rPr>
              <a:pPr/>
              <a:t>27,725</a:t>
            </a:fld>
            <a:endParaRPr lang="en-US" sz="1400" b="1" dirty="0">
              <a:cs typeface="+mn-cs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1851025" y="3817938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ECB7091-0DA0-43A3-B2B9-51D74CA0F062}" type="datetime'''''3''''''''''''5,''''95''''''''''4'''''''''''''''''">
              <a:rPr lang="en-US" altLang="en-US" sz="1400" b="1" smtClean="0">
                <a:cs typeface="+mn-cs"/>
              </a:rPr>
              <a:pPr/>
              <a:t>35,954</a:t>
            </a:fld>
            <a:endParaRPr lang="en-US" sz="1400" b="1" dirty="0">
              <a:cs typeface="+mn-cs"/>
            </a:endParaRPr>
          </a:p>
        </p:txBody>
      </p:sp>
      <p:sp useBgFill="1">
        <p:nvSpPr>
          <p:cNvPr id="10" name="Text Placeholder 2">
            <a:extLst>
              <a:ext uri="{FF2B5EF4-FFF2-40B4-BE49-F238E27FC236}">
                <a16:creationId xmlns:a16="http://schemas.microsoft.com/office/drawing/2014/main" id="{344D838A-9CE9-86A2-D9C8-12C4E3E9ED9B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565275" y="5287963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875C5CD-3B8F-4D41-B5E4-0CA7B66C6311}" type="datetime'''''''''''''''''''''''''''''''''1''''8''''''''''''%'''''''">
              <a:rPr lang="en-US" altLang="en-US" sz="1400" smtClean="0">
                <a:effectLst/>
                <a:cs typeface="+mn-cs"/>
              </a:rPr>
              <a:pPr/>
              <a:t>18%</a:t>
            </a:fld>
            <a:endParaRPr lang="en-US" sz="1400" dirty="0">
              <a:cs typeface="+mn-cs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3527425" y="2749550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66A5498-9C02-448D-A5B9-6A509A53CB49}" type="datetime'''''''''''''5''7'''',9''''''''''9''''1'''''''''''''''''''">
              <a:rPr lang="en-US" altLang="en-US" sz="1400" b="1" smtClean="0">
                <a:cs typeface="+mn-cs"/>
              </a:rPr>
              <a:pPr/>
              <a:t>57,991</a:t>
            </a:fld>
            <a:endParaRPr lang="en-US" sz="1400" b="1" dirty="0">
              <a:cs typeface="+mn-cs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4364038" y="2214563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1D7752A-EF2A-4805-988B-105FC435FF15}" type="datetime'''6''''''''9'''''''''''''''',''01''''''0'">
              <a:rPr lang="en-US" altLang="en-US" sz="1400" b="1" smtClean="0">
                <a:cs typeface="+mn-cs"/>
              </a:rPr>
              <a:pPr/>
              <a:t>69,010</a:t>
            </a:fld>
            <a:endParaRPr lang="en-US" sz="1400" b="1" dirty="0"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202238" y="1681163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F5D5C6C-9E1C-44D6-AD08-7E0D241DD39B}" type="datetime'''8''''''0'''',0''''''''''''''''2''9'''''">
              <a:rPr lang="en-US" altLang="en-US" sz="1400" b="1" smtClean="0">
                <a:cs typeface="+mn-cs"/>
              </a:rPr>
              <a:pPr/>
              <a:t>80,029</a:t>
            </a:fld>
            <a:endParaRPr lang="en-US" sz="1400" b="1" dirty="0">
              <a:cs typeface="+mn-cs"/>
            </a:endParaRPr>
          </a:p>
        </p:txBody>
      </p:sp>
      <p:sp useBgFill="1">
        <p:nvSpPr>
          <p:cNvPr id="16" name="Text Placeholder 2">
            <a:extLst>
              <a:ext uri="{FF2B5EF4-FFF2-40B4-BE49-F238E27FC236}">
                <a16:creationId xmlns:a16="http://schemas.microsoft.com/office/drawing/2014/main" id="{13AE332F-26F0-BF86-858E-8CCC703835A9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1565275" y="5559425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334DCC6-B85D-40B0-880A-E9A4B2C5F64F}" type="datetime'2''''''''''''''''''''''''''''''''''5''%'''''''''''''''''''''">
              <a:rPr lang="en-US" altLang="en-US" sz="1400" smtClean="0">
                <a:effectLst/>
                <a:cs typeface="+mn-cs"/>
              </a:rPr>
              <a:pPr/>
              <a:t>25%</a:t>
            </a:fld>
            <a:endParaRPr lang="en-US" sz="1400" dirty="0">
              <a:cs typeface="+mn-cs"/>
            </a:endParaRPr>
          </a:p>
        </p:txBody>
      </p:sp>
      <p:sp useBgFill="1">
        <p:nvSpPr>
          <p:cNvPr id="19" name="Text Placeholder 2">
            <a:extLst>
              <a:ext uri="{FF2B5EF4-FFF2-40B4-BE49-F238E27FC236}">
                <a16:creationId xmlns:a16="http://schemas.microsoft.com/office/drawing/2014/main" id="{CCAE2F6D-AD8A-F0D0-5C76-36B98CD2DBCE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2401888" y="5475288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0006A0B-67CD-4CD6-BB1C-A1FFF6CA41F4}" type="datetime'''''''''''''2''''''''''''''9''''''''''''''''''%'">
              <a:rPr lang="en-US" altLang="en-US" sz="1400" smtClean="0">
                <a:effectLst/>
                <a:cs typeface="+mn-cs"/>
              </a:rPr>
              <a:pPr/>
              <a:t>29%</a:t>
            </a:fld>
            <a:endParaRPr lang="en-US" sz="1400" dirty="0">
              <a:cs typeface="+mn-cs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2689224" y="3282950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41E48F4-FBA6-4A33-B181-148622FD547C}" type="datetime'''''''4''''''''''''''6,9''''''''''''''''''''''''72'">
              <a:rPr lang="en-US" altLang="en-US" sz="1400" b="1" smtClean="0">
                <a:cs typeface="+mn-cs"/>
              </a:rPr>
              <a:pPr/>
              <a:t>46,972</a:t>
            </a:fld>
            <a:endParaRPr lang="en-US" sz="1400" b="1" dirty="0">
              <a:cs typeface="+mn-cs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ACAC6BD-FFE6-7BAA-BAB2-BE62BF56C5FE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3619500" y="530701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AA2F7AA-6623-4865-AFFF-0AF2EA0F1191}" type="datetime'''''''''''3''''''''''''''''0''''''''''''%'''''''''''''">
              <a:rPr lang="en-US" altLang="en-US" sz="1400" smtClean="0">
                <a:cs typeface="+mn-cs"/>
              </a:rPr>
              <a:pPr/>
              <a:t>30%</a:t>
            </a:fld>
            <a:endParaRPr lang="en-US" sz="1400" dirty="0">
              <a:cs typeface="+mn-cs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11865BDB-979C-B6BA-0BB9-1D36992F84E2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4456113" y="52212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E7C6E55-46AD-49FF-BF05-E1D192393403}" type="datetime'''3''''''''0''''''%'''''''">
              <a:rPr lang="en-US" altLang="en-US" sz="1400" smtClean="0">
                <a:cs typeface="+mn-cs"/>
              </a:rPr>
              <a:pPr/>
              <a:t>30%</a:t>
            </a:fld>
            <a:endParaRPr lang="en-US" sz="1400" dirty="0">
              <a:cs typeface="+mn-cs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E0A62CED-A6A2-921D-2F5C-A4AEE8063967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5294313" y="51371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CAD244C-99EB-489B-B62E-82639CC8A9D6}" type="datetime'''3''''''''''''''''''''0''''''''%'''''''">
              <a:rPr lang="en-US" altLang="en-US" sz="1400" smtClean="0">
                <a:cs typeface="+mn-cs"/>
              </a:rPr>
              <a:pPr/>
              <a:t>30%</a:t>
            </a:fld>
            <a:endParaRPr lang="en-US" sz="1400" dirty="0">
              <a:cs typeface="+mn-cs"/>
            </a:endParaRPr>
          </a:p>
        </p:txBody>
      </p:sp>
      <p:sp useBgFill="1">
        <p:nvSpPr>
          <p:cNvPr id="21" name="Text Placeholder 2">
            <a:extLst>
              <a:ext uri="{FF2B5EF4-FFF2-40B4-BE49-F238E27FC236}">
                <a16:creationId xmlns:a16="http://schemas.microsoft.com/office/drawing/2014/main" id="{F811A69A-5373-4B7D-AB1C-4EA48302C04A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1565275" y="5053013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F55E9FC-3838-4BC8-8EAF-B52B7D1495FC}" type="datetime'''''1''''''''''''''2''''''''%'''''''''''''">
              <a:rPr lang="en-US" altLang="en-US" sz="1400" smtClean="0">
                <a:effectLst/>
                <a:cs typeface="+mn-cs"/>
              </a:rPr>
              <a:pPr/>
              <a:t>12%</a:t>
            </a:fld>
            <a:endParaRPr lang="en-US" sz="1400" dirty="0">
              <a:cs typeface="+mn-cs"/>
            </a:endParaRPr>
          </a:p>
        </p:txBody>
      </p:sp>
      <p:sp useBgFill="1">
        <p:nvSpPr>
          <p:cNvPr id="353" name="Text Placeholder 2">
            <a:extLst>
              <a:ext uri="{FF2B5EF4-FFF2-40B4-BE49-F238E27FC236}">
                <a16:creationId xmlns:a16="http://schemas.microsoft.com/office/drawing/2014/main" id="{CC11DF8A-926A-3070-CFB4-218121A86BE8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1565275" y="4818063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E6D40FD-6067-436A-8DF3-344AB04D5FFC}" type="datetime'''''''''''''''''''''2''5''''''''''''%'''''''''">
              <a:rPr lang="en-US" altLang="en-US" sz="1400" smtClean="0">
                <a:effectLst/>
                <a:cs typeface="+mn-cs"/>
              </a:rPr>
              <a:pPr/>
              <a:t>25%</a:t>
            </a:fld>
            <a:endParaRPr lang="en-US" sz="1400" dirty="0">
              <a:cs typeface="+mn-cs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C813B69-4A89-ACDF-D237-C7B7F421A3F0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2781300" y="53911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835897D-56E3-4E59-A7F3-1333D0C23647}" type="datetime'''''''3''''''0''''''''''''''''''''''''''''''''''''''%'''''">
              <a:rPr lang="en-US" altLang="en-US" sz="1400" smtClean="0">
                <a:cs typeface="+mn-cs"/>
              </a:rPr>
              <a:pPr/>
              <a:t>30%</a:t>
            </a:fld>
            <a:endParaRPr lang="en-US" sz="1400" dirty="0">
              <a:cs typeface="+mn-cs"/>
            </a:endParaRPr>
          </a:p>
        </p:txBody>
      </p:sp>
      <p:graphicFrame>
        <p:nvGraphicFramePr>
          <p:cNvPr id="48" name="Chart 47">
            <a:extLst>
              <a:ext uri="{FF2B5EF4-FFF2-40B4-BE49-F238E27FC236}">
                <a16:creationId xmlns:a16="http://schemas.microsoft.com/office/drawing/2014/main" id="{1759B2E9-4084-4D40-3F08-F6C2E88B7A18}"/>
              </a:ext>
            </a:extLst>
          </p:cNvPr>
          <p:cNvGraphicFramePr/>
          <p:nvPr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3100339796"/>
              </p:ext>
            </p:extLst>
          </p:nvPr>
        </p:nvGraphicFramePr>
        <p:xfrm>
          <a:off x="6684963" y="2716213"/>
          <a:ext cx="4824412" cy="2524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9"/>
          </a:graphicData>
        </a:graphic>
      </p:graphicFrame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136F67E0-4CCE-72CF-73ED-6D97CB526F1F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7518400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1A46018-46B8-4FC7-829B-E3D39A7426DD}" type="datetime'P''E''''P'' pop''u''''l''''''at''i''''''o''n (Y''''r'' 5'''')'">
              <a:rPr lang="en-US" altLang="en-US" sz="1400" smtClean="0">
                <a:cs typeface="+mn-cs"/>
              </a:rPr>
              <a:pPr/>
              <a:t>PEP population (Yr 5)</a:t>
            </a:fld>
            <a:endParaRPr lang="en-US" sz="1400" dirty="0">
              <a:cs typeface="+mn-cs"/>
            </a:endParaRPr>
          </a:p>
        </p:txBody>
      </p:sp>
      <p:sp>
        <p:nvSpPr>
          <p:cNvPr id="256" name="Text Placeholder 2">
            <a:extLst>
              <a:ext uri="{FF2B5EF4-FFF2-40B4-BE49-F238E27FC236}">
                <a16:creationId xmlns:a16="http://schemas.microsoft.com/office/drawing/2014/main" id="{DE09F304-175B-96DB-AE61-3AEC9389FB80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8683625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7D7A564-A23B-498F-8321-E9D265A9CEBC}" type="datetime'''P''''EP'''''''' ''popu''l''''ation ''(Y''r'''''' ''''1''0)'">
              <a:rPr lang="en-US" altLang="en-US" sz="1400" smtClean="0">
                <a:cs typeface="+mn-cs"/>
              </a:rPr>
              <a:pPr/>
              <a:t>PEP population (Yr 10)</a:t>
            </a:fld>
            <a:endParaRPr lang="en-US" sz="1400" dirty="0">
              <a:cs typeface="+mn-cs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7BE6E050-5201-1D1E-1E46-93A78C6F8CC0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9847263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CEC4DD2-3FC5-403E-A49E-83FA1DB033E2}" type="datetime'P''''E''P'''' pop''u''''l''''a''t''ion'''' ''(''''Yr 1''5)'">
              <a:rPr lang="en-US" altLang="en-US" sz="1400" smtClean="0">
                <a:cs typeface="+mn-cs"/>
              </a:rPr>
              <a:pPr/>
              <a:t>PEP population (Yr 15)</a:t>
            </a:fld>
            <a:endParaRPr lang="en-US" sz="1400" dirty="0">
              <a:cs typeface="+mn-cs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11012488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7D3DFAD-FF60-4DFF-8C01-125F7FF76277}" type="datetime'''P''''EP p''''op''''ula''''''t''i''on'''' (''Y''r'''''' 20)'">
              <a:rPr lang="en-US" altLang="en-US" sz="1400" smtClean="0">
                <a:cs typeface="+mn-cs"/>
              </a:rPr>
              <a:pPr/>
              <a:t>PEP population (Yr 20)</a:t>
            </a:fld>
            <a:endParaRPr lang="en-US" sz="1400" dirty="0">
              <a:cs typeface="+mn-cs"/>
            </a:endParaRPr>
          </a:p>
        </p:txBody>
      </p:sp>
      <p:sp>
        <p:nvSpPr>
          <p:cNvPr id="269" name="Text Placeholder 2">
            <a:extLst>
              <a:ext uri="{FF2B5EF4-FFF2-40B4-BE49-F238E27FC236}">
                <a16:creationId xmlns:a16="http://schemas.microsoft.com/office/drawing/2014/main" id="{89629599-86C8-63A8-EE9C-0D10B89E91DB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6353175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D4EE799-ECDF-4888-A1E1-FD713B094AC2}" type="datetime'P''E''''P p''''opul''''at''''io''n ''''(Yr'''''' ''0'')'">
              <a:rPr lang="en-US" altLang="en-US" sz="1400" smtClean="0">
                <a:cs typeface="+mn-cs"/>
              </a:rPr>
              <a:pPr/>
              <a:t>PEP population (Yr 0)</a:t>
            </a:fld>
            <a:endParaRPr lang="en-US" sz="1400" dirty="0">
              <a:cs typeface="+mn-cs"/>
            </a:endParaRPr>
          </a:p>
        </p:txBody>
      </p:sp>
      <p:sp>
        <p:nvSpPr>
          <p:cNvPr id="27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6521450" y="4595813"/>
            <a:ext cx="4937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C76EB54-7E55-4ACE-933E-CFA3877AEAE9}" type="datetime'''''''''''''''7'''''''''',''''''''''''''''''0''0''0''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7,000</a:t>
            </a:fld>
            <a:endParaRPr lang="en-US" sz="1400" dirty="0">
              <a:cs typeface="+mn-cs"/>
            </a:endParaRPr>
          </a:p>
        </p:txBody>
      </p:sp>
      <p:sp useBgFill="1">
        <p:nvSpPr>
          <p:cNvPr id="275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7637463" y="4054475"/>
            <a:ext cx="592138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F553536-2F94-411C-9A09-77476E6DBEF7}" type="datetime'''''''''''''''''''''''''''''2''4,''''''''''''3''''87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4,387</a:t>
            </a:fld>
            <a:endParaRPr lang="en-US" sz="1400" dirty="0">
              <a:cs typeface="+mn-cs"/>
            </a:endParaRPr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8802688" y="2455863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7557342-66B6-426A-BC3E-722FFFEFE48D}" type="datetime'''''''''7''5'''''''''',''''5''''7''''''''''''''''9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75,579</a:t>
            </a:fld>
            <a:endParaRPr lang="en-US" sz="1400" dirty="0">
              <a:cs typeface="+mn-cs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9966325" y="2455863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04C436B-C4C1-4CE3-AC68-86B221D2EF0E}" type="datetime'''''''7''''''''''5,''''''5''''''''''''7''''''''''''''''''9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75,579</a:t>
            </a:fld>
            <a:endParaRPr lang="en-US" sz="1400" dirty="0">
              <a:cs typeface="+mn-cs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11131550" y="2455863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034E647-5961-4677-9D65-6535F9B7E75D}" type="datetime'''''7''''''''''''''''''''''''''''''''''5,''5''''7''''''''9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75,579</a:t>
            </a:fld>
            <a:endParaRPr lang="en-US" sz="1400" dirty="0"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DA9C1F6-9840-FAAD-F8BD-DB729D5093FC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1127125" y="1574800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F415B150-5153-6156-A945-CF3561778E2C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1127125" y="1860550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8919408-C1FA-4A01-B5AE-0CD56CA1210A}"/>
              </a:ext>
            </a:extLst>
          </p:cNvPr>
          <p:cNvSpPr/>
          <p:nvPr>
            <p:custDataLst>
              <p:tags r:id="rId67"/>
            </p:custDataLst>
          </p:nvPr>
        </p:nvSpPr>
        <p:spPr bwMode="auto">
          <a:xfrm>
            <a:off x="1127125" y="2146300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B672D7A-2D42-990E-5A34-7F62CC2DC467}"/>
              </a:ext>
            </a:extLst>
          </p:cNvPr>
          <p:cNvSpPr/>
          <p:nvPr>
            <p:custDataLst>
              <p:tags r:id="rId68"/>
            </p:custDataLst>
          </p:nvPr>
        </p:nvSpPr>
        <p:spPr bwMode="auto">
          <a:xfrm>
            <a:off x="1127125" y="2432050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CB3AE964-54FC-4D6F-874A-78F519C746E5}"/>
              </a:ext>
            </a:extLst>
          </p:cNvPr>
          <p:cNvSpPr/>
          <p:nvPr>
            <p:custDataLst>
              <p:tags r:id="rId69"/>
            </p:custDataLst>
          </p:nvPr>
        </p:nvSpPr>
        <p:spPr bwMode="auto">
          <a:xfrm>
            <a:off x="1127125" y="271780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1428751" y="1554163"/>
            <a:ext cx="5191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A7DAE10-2E00-4D34-8424-61933185D605}" type="datetime'''''''''''''Bu''''''f''''''''''''''''''f''''''e''''''''r'' '''">
              <a:rPr lang="en-US" altLang="en-US" sz="1400" smtClean="0">
                <a:cs typeface="+mn-cs"/>
              </a:rPr>
              <a:pPr/>
              <a:t>Buffer </a:t>
            </a:fld>
            <a:endParaRPr lang="en-US" sz="1400" dirty="0"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1428750" y="1839913"/>
            <a:ext cx="74295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45AF1CB-7B73-4D5D-A7D8-11BDCB037F50}" type="datetime'''W''a''s''''''''''''''t''''a''''g''''''''e '''''''''''">
              <a:rPr lang="en-US" altLang="en-US" sz="1400" smtClean="0">
                <a:cs typeface="+mn-cs"/>
              </a:rPr>
              <a:pPr/>
              <a:t>Wastage </a:t>
            </a:fld>
            <a:endParaRPr lang="en-US" sz="1400" dirty="0">
              <a:cs typeface="+mn-cs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1428750" y="2125663"/>
            <a:ext cx="12795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6F70298-9991-479A-A87F-5FC3B646FDD7}" type="datetime'T''''arg''e''t'''''''''' ''3rd do''''''se'' '''''''''''">
              <a:rPr lang="en-US" altLang="en-US" sz="1400" smtClean="0">
                <a:cs typeface="+mn-cs"/>
              </a:rPr>
              <a:pPr/>
              <a:t>Target 3rd dose </a:t>
            </a:fld>
            <a:endParaRPr lang="en-US" sz="1400" dirty="0"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DDBF6AC-C87B-97A9-9BC2-A13A16332DE4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1428750" y="2411413"/>
            <a:ext cx="13192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1E67DB8-1E14-41B4-8507-8EB0E06ACDE4}" type="datetime'Tar''''ge''t'' 2''n''''d ''''d''''o''''''''s''e '''''''''">
              <a:rPr lang="en-US" altLang="en-US" sz="1400" smtClean="0">
                <a:cs typeface="+mn-cs"/>
              </a:rPr>
              <a:pPr/>
              <a:t>Target 2nd dose </a:t>
            </a:fld>
            <a:endParaRPr lang="en-US" sz="1400" dirty="0">
              <a:cs typeface="+mn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6849B6A-765F-24E0-C6FC-E407B5D467EF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1428750" y="2697163"/>
            <a:ext cx="126047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ABEB976-F027-47D2-AEAE-0C8E9F5D72DF}" type="datetime'''''Ta''''rg''e''''''t'' 1st d''o''s''''''''e'''' '''''''''">
              <a:rPr lang="en-US" altLang="en-US" sz="1400" smtClean="0">
                <a:cs typeface="+mn-cs"/>
              </a:rPr>
              <a:pPr/>
              <a:t>Target 1st dose </a:t>
            </a:fld>
            <a:endParaRPr lang="en-US" sz="1400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521498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" name="think-cell data - do not delete" hidden="1">
            <a:extLst>
              <a:ext uri="{FF2B5EF4-FFF2-40B4-BE49-F238E27FC236}">
                <a16:creationId xmlns:a16="http://schemas.microsoft.com/office/drawing/2014/main" id="{C08E85C6-3B60-8DDB-4673-09E8B500D9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813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8" imgW="353" imgH="353" progId="TCLayout.ActiveDocument.1">
                  <p:embed/>
                </p:oleObj>
              </mc:Choice>
              <mc:Fallback>
                <p:oleObj name="think-cell Slide" r:id="rId78" imgW="353" imgH="353" progId="TCLayout.ActiveDocument.1">
                  <p:embed/>
                  <p:pic>
                    <p:nvPicPr>
                      <p:cNvPr id="7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8E85C6-3B60-8DDB-4673-09E8B500D9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3198CF8F-B7D1-6090-3D08-B7E605AFD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Countries with an expected GAVI application in 2024 –Tanzania</a:t>
            </a:r>
          </a:p>
        </p:txBody>
      </p:sp>
      <p:sp>
        <p:nvSpPr>
          <p:cNvPr id="283" name="Text Placeholder 282">
            <a:extLst>
              <a:ext uri="{FF2B5EF4-FFF2-40B4-BE49-F238E27FC236}">
                <a16:creationId xmlns:a16="http://schemas.microsoft.com/office/drawing/2014/main" id="{365D413D-7501-0269-CFA3-A36577F9F1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Rabies Access status and PEP population targets</a:t>
            </a:r>
          </a:p>
        </p:txBody>
      </p:sp>
      <p:sp>
        <p:nvSpPr>
          <p:cNvPr id="284" name="Text Placeholder 283">
            <a:extLst>
              <a:ext uri="{FF2B5EF4-FFF2-40B4-BE49-F238E27FC236}">
                <a16:creationId xmlns:a16="http://schemas.microsoft.com/office/drawing/2014/main" id="{388CDE2E-E13A-67DD-491C-3786A2D0CDEB}"/>
              </a:ext>
            </a:extLst>
          </p:cNvPr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ccess status at baseline (2025): Limited</a:t>
            </a:r>
          </a:p>
        </p:txBody>
      </p:sp>
      <p:graphicFrame>
        <p:nvGraphicFramePr>
          <p:cNvPr id="69" name="Chart 68">
            <a:extLst>
              <a:ext uri="{FF2B5EF4-FFF2-40B4-BE49-F238E27FC236}">
                <a16:creationId xmlns:a16="http://schemas.microsoft.com/office/drawing/2014/main" id="{32195C95-92E7-AF58-4BEB-98EF64F1B26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4868848"/>
              </p:ext>
            </p:extLst>
          </p:nvPr>
        </p:nvGraphicFramePr>
        <p:xfrm>
          <a:off x="808038" y="1400175"/>
          <a:ext cx="5191125" cy="4529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0"/>
          </a:graphicData>
        </a:graphic>
      </p:graphicFrame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45C7D682-C37C-6CBD-54A4-EF90C9F099A1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 flipH="1">
            <a:off x="1484313" y="4949825"/>
            <a:ext cx="8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9" name="Straight Connector 358">
            <a:extLst>
              <a:ext uri="{FF2B5EF4-FFF2-40B4-BE49-F238E27FC236}">
                <a16:creationId xmlns:a16="http://schemas.microsoft.com/office/drawing/2014/main" id="{D95CD3F6-C6D6-E0F5-115E-41ED50E31D0F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1484313" y="4635500"/>
            <a:ext cx="8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9" name="Straight Connector 258">
            <a:extLst>
              <a:ext uri="{FF2B5EF4-FFF2-40B4-BE49-F238E27FC236}">
                <a16:creationId xmlns:a16="http://schemas.microsoft.com/office/drawing/2014/main" id="{9811672F-642C-D391-7A9E-1599EEC21CF3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H="1" flipV="1">
            <a:off x="1484313" y="5405438"/>
            <a:ext cx="80962" cy="206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880B693-A51A-A7ED-A0CC-84260D44A883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2320925" y="4892675"/>
            <a:ext cx="8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0389919-5A09-2DE0-59A9-D6A39E42D1E4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H="1">
            <a:off x="1484313" y="5191125"/>
            <a:ext cx="80962" cy="190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ED8F2BC-1F33-2859-1272-2D7795356FA0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 flipH="1">
            <a:off x="2320925" y="4168775"/>
            <a:ext cx="8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0" name="Straight Connector 259">
            <a:extLst>
              <a:ext uri="{FF2B5EF4-FFF2-40B4-BE49-F238E27FC236}">
                <a16:creationId xmlns:a16="http://schemas.microsoft.com/office/drawing/2014/main" id="{B5E9506A-9B61-8FB4-357F-92FDAE0F1070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2320925" y="5184775"/>
            <a:ext cx="8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F5D657D3-B77E-B709-D20A-64BF6535A676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>
            <a:off x="2320925" y="4503738"/>
            <a:ext cx="8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5" name="Straight Connector 284">
            <a:extLst>
              <a:ext uri="{FF2B5EF4-FFF2-40B4-BE49-F238E27FC236}">
                <a16:creationId xmlns:a16="http://schemas.microsoft.com/office/drawing/2014/main" id="{4E7EBE82-69B6-1A35-B4DA-E9D3CD35DB8B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H="1">
            <a:off x="1484313" y="5683250"/>
            <a:ext cx="80962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6" name="Straight Connector 285">
            <a:extLst>
              <a:ext uri="{FF2B5EF4-FFF2-40B4-BE49-F238E27FC236}">
                <a16:creationId xmlns:a16="http://schemas.microsoft.com/office/drawing/2014/main" id="{07E2E22B-C181-B64B-0F5A-9CA11A5141C2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H="1">
            <a:off x="2320925" y="5600700"/>
            <a:ext cx="8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54025" y="2768600"/>
            <a:ext cx="234950" cy="1792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+mn-cs"/>
              </a:rPr>
              <a:t>Total number of doses </a:t>
            </a:r>
          </a:p>
        </p:txBody>
      </p:sp>
      <p:sp useBgFill="1">
        <p:nvSpPr>
          <p:cNvPr id="353" name="Text Placeholder 2">
            <a:extLst>
              <a:ext uri="{FF2B5EF4-FFF2-40B4-BE49-F238E27FC236}">
                <a16:creationId xmlns:a16="http://schemas.microsoft.com/office/drawing/2014/main" id="{CC11DF8A-926A-3070-CFB4-218121A86BE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565275" y="4518025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2A9E9B0-5F73-4720-868B-0CEBF93E132F}" type="datetime'''''''''2''''''''''''''0''''''%'''">
              <a:rPr lang="en-US" altLang="en-US" sz="1400" smtClean="0">
                <a:effectLst/>
                <a:cs typeface="+mn-cs"/>
              </a:rPr>
              <a:pPr/>
              <a:t>20%</a:t>
            </a:fld>
            <a:endParaRPr lang="en-US" sz="1400" dirty="0">
              <a:cs typeface="+mn-cs"/>
            </a:endParaRPr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106488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E1E6206-021F-49BE-AABF-A17818E342AA}" type="datetime'''2''0''''''''''''''''''''''''2''''''''''''''''''5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5</a:t>
            </a:fld>
            <a:endParaRPr lang="en-US" sz="1400" dirty="0">
              <a:cs typeface="+mn-cs"/>
            </a:endParaRPr>
          </a:p>
        </p:txBody>
      </p:sp>
      <p:sp useBgFill="1">
        <p:nvSpPr>
          <p:cNvPr id="19" name="Text Placeholder 2">
            <a:extLst>
              <a:ext uri="{FF2B5EF4-FFF2-40B4-BE49-F238E27FC236}">
                <a16:creationId xmlns:a16="http://schemas.microsoft.com/office/drawing/2014/main" id="{CCAE2F6D-AD8A-F0D0-5C76-36B98CD2DBC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401888" y="5067300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10E10A9-8FA1-4176-BB30-27120E100A89}" type="datetime'''''''''''2''''''''''''''''''''0''''''''''''''''''''''%'">
              <a:rPr lang="en-US" altLang="en-US" sz="1400" smtClean="0">
                <a:effectLst/>
                <a:cs typeface="+mn-cs"/>
              </a:rPr>
              <a:pPr/>
              <a:t>20%</a:t>
            </a:fld>
            <a:endParaRPr lang="en-US" sz="1400" dirty="0">
              <a:cs typeface="+mn-cs"/>
            </a:endParaRPr>
          </a:p>
        </p:txBody>
      </p:sp>
      <p:sp useBgFill="1">
        <p:nvSpPr>
          <p:cNvPr id="11" name="Text Placeholder 2">
            <a:extLst>
              <a:ext uri="{FF2B5EF4-FFF2-40B4-BE49-F238E27FC236}">
                <a16:creationId xmlns:a16="http://schemas.microsoft.com/office/drawing/2014/main" id="{7EFDFB1B-8D36-50EB-91B1-A860123CBA4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401888" y="4775200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544D2AA-4635-4F40-ADE5-EEBC9044B1D6}" type="datetime'''''''''''''''''''''''''''''''1''''''4%'''">
              <a:rPr lang="en-US" altLang="en-US" sz="1400" smtClean="0">
                <a:effectLst/>
                <a:cs typeface="+mn-cs"/>
              </a:rPr>
              <a:pPr/>
              <a:t>14%</a:t>
            </a:fld>
            <a:endParaRPr lang="en-US" sz="1400" dirty="0">
              <a:cs typeface="+mn-cs"/>
            </a:endParaRPr>
          </a:p>
        </p:txBody>
      </p:sp>
      <p:sp useBgFill="1">
        <p:nvSpPr>
          <p:cNvPr id="24" name="Text Placeholder 2">
            <a:extLst>
              <a:ext uri="{FF2B5EF4-FFF2-40B4-BE49-F238E27FC236}">
                <a16:creationId xmlns:a16="http://schemas.microsoft.com/office/drawing/2014/main" id="{51813EC2-25D8-3901-75F5-995465A6555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401888" y="4386263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EF7314B-DD41-452C-96A7-AC90CFCCD4E4}" type="datetime'''''''''''''''3''''''''''''''''1''%'''''''''''''''''''''''''''">
              <a:rPr lang="en-US" altLang="en-US" sz="1400" smtClean="0">
                <a:effectLst/>
                <a:cs typeface="+mn-cs"/>
              </a:rPr>
              <a:pPr/>
              <a:t>31%</a:t>
            </a:fld>
            <a:endParaRPr lang="en-US" sz="1400" dirty="0">
              <a:cs typeface="+mn-cs"/>
            </a:endParaRPr>
          </a:p>
        </p:txBody>
      </p:sp>
      <p:sp>
        <p:nvSpPr>
          <p:cNvPr id="19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401889" y="4051300"/>
            <a:ext cx="30797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9040CA3-6B92-423D-9237-935B5D009C69}" type="datetime'''''''''''''''''''''''''''''8''''%'''">
              <a:rPr lang="en-US" altLang="en-US" sz="1400" smtClean="0">
                <a:effectLst/>
                <a:cs typeface="+mn-cs"/>
              </a:rPr>
              <a:pPr/>
              <a:t>8%</a:t>
            </a:fld>
            <a:endParaRPr lang="en-US" sz="1400" dirty="0">
              <a:cs typeface="+mn-cs"/>
            </a:endParaRPr>
          </a:p>
        </p:txBody>
      </p:sp>
      <p:sp>
        <p:nvSpPr>
          <p:cNvPr id="27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943100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6060FC5-440A-415B-AA2D-B98419A97FF4}" type="datetime'202''''6''''''''''''''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6</a:t>
            </a:fld>
            <a:endParaRPr lang="en-US" sz="1400" dirty="0">
              <a:cs typeface="+mn-cs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C813B69-4A89-ACDF-D237-C7B7F421A3F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781300" y="484822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ACB83AF-C6D2-4813-8BA2-ECD0DEEED968}" type="datetime'''''''2''''''''''0''''''%''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0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6B31BCB-3B8C-D942-C1FF-190CDCCFA98B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781300" y="44592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3D693A4-6985-4362-8216-3947B074EEE9}" type="datetime'''''14''''''''''''''''''''''''%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4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72DD424-9116-FBFC-0923-03C27A491A70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781300" y="394176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420C804-0C71-4F3F-91D3-53E3AC5C33ED}" type="datetime'3''''''''''''''''''''1''''''''''''%'''''''">
              <a:rPr lang="en-US" altLang="en-US" sz="1400" smtClean="0">
                <a:cs typeface="+mn-cs"/>
              </a:rPr>
              <a:pPr/>
              <a:t>31%</a:t>
            </a:fld>
            <a:endParaRPr lang="en-US" sz="1400" dirty="0">
              <a:cs typeface="+mn-cs"/>
            </a:endParaRPr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830514" y="3516313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C1262F0-4322-4DBF-8C8A-99284632BA2C}" type="datetime'''6''''''%'''''''''''''''''''''''''''''">
              <a:rPr lang="en-US" altLang="en-US" sz="1400" smtClean="0">
                <a:cs typeface="+mn-cs"/>
              </a:rPr>
              <a:pPr/>
              <a:t>6%</a:t>
            </a:fld>
            <a:endParaRPr lang="en-US" sz="1400" dirty="0">
              <a:cs typeface="+mn-cs"/>
            </a:endParaRPr>
          </a:p>
        </p:txBody>
      </p:sp>
      <p:sp>
        <p:nvSpPr>
          <p:cNvPr id="27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781300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F47A7F9-114B-4EB1-B933-DF04DAA764A1}" type="datetime'2''''''''''''''''''''''0''''''''''''''''''''''2''''''7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7</a:t>
            </a:fld>
            <a:endParaRPr lang="en-US" sz="1400" dirty="0">
              <a:cs typeface="+mn-cs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ACAC6BD-FFE6-7BAA-BAB2-BE62BF56C5FE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619500" y="46291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30C206A-238C-4E88-85E0-865787963701}" type="datetime'2''''''''''''0''''''''''''''''''''''''''''%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0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3A3C32A-52A9-DBA1-6F1C-50C86C37EC8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619500" y="414337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2D22D44-29FB-40BB-975C-AB713F95FBC6}" type="datetime'''''''''''''''''''''''1''''''''''4''''''%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4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FB169E6-B4B4-69C8-A959-2A57E21575C8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619500" y="349726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466F49B-57B8-4C11-BD51-757725D50DD9}" type="datetime'32''''''''''''''''''''''%'''">
              <a:rPr lang="en-US" altLang="en-US" sz="1400" smtClean="0">
                <a:cs typeface="+mn-cs"/>
              </a:rPr>
              <a:pPr/>
              <a:t>32%</a:t>
            </a:fld>
            <a:endParaRPr lang="en-US" sz="1400" dirty="0">
              <a:cs typeface="+mn-cs"/>
            </a:endParaRPr>
          </a:p>
        </p:txBody>
      </p:sp>
      <p:sp>
        <p:nvSpPr>
          <p:cNvPr id="20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668714" y="2982913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5951EAC-D13D-4D49-BB5A-5B1796FA30D9}" type="datetime'''''''''''''''''''''''''5''''''''%'''''''''''''''''">
              <a:rPr lang="en-US" altLang="en-US" sz="1400" smtClean="0">
                <a:cs typeface="+mn-cs"/>
              </a:rPr>
              <a:pPr/>
              <a:t>5%</a:t>
            </a:fld>
            <a:endParaRPr lang="en-US" sz="1400" dirty="0">
              <a:cs typeface="+mn-cs"/>
            </a:endParaRPr>
          </a:p>
        </p:txBody>
      </p:sp>
      <p:sp>
        <p:nvSpPr>
          <p:cNvPr id="279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619500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837169C-54A3-48FB-B9B3-4A43D97BE2BB}" type="datetime'''''''''''''2''''''''''''''''''''''0''''''''2''''''8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8</a:t>
            </a:fld>
            <a:endParaRPr lang="en-US" sz="1400" dirty="0">
              <a:cs typeface="+mn-cs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11865BDB-979C-B6BA-0BB9-1D36992F84E2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456113" y="44084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FD9D615-9473-44DD-82C9-90FA4DC0575E}" type="datetime'''''''''''''''''''''2''''''''''''0''''%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0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F5624F9-440A-3749-26CF-D24A525BCBD3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456113" y="382746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8E26978-8C2D-45F2-9424-86C9A7704C2D}" type="datetime'''''''''''''''''''1''''''''''''''''''''4''''''''%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4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57" name="Text Placeholder 2">
            <a:extLst>
              <a:ext uri="{FF2B5EF4-FFF2-40B4-BE49-F238E27FC236}">
                <a16:creationId xmlns:a16="http://schemas.microsoft.com/office/drawing/2014/main" id="{1D25E232-17E8-B0AD-C148-E5CCA3CEBC45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456113" y="305117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730D82E-9094-4610-8901-B15F65D2DF3A}" type="datetime'''''''''''32''''''''''''''%'''''''''''''''''''">
              <a:rPr lang="en-US" altLang="en-US" sz="1400" smtClean="0">
                <a:cs typeface="+mn-cs"/>
              </a:rPr>
              <a:pPr/>
              <a:t>32%</a:t>
            </a:fld>
            <a:endParaRPr lang="en-US" sz="1400" dirty="0">
              <a:cs typeface="+mn-cs"/>
            </a:endParaRPr>
          </a:p>
        </p:txBody>
      </p:sp>
      <p:sp>
        <p:nvSpPr>
          <p:cNvPr id="21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505326" y="2447925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CA33147-F347-4838-A3F1-CC34013E42F9}" type="datetime'''''''''''''''''''''''''''''''''4''''''''''''''''%'">
              <a:rPr lang="en-US" altLang="en-US" sz="1400" smtClean="0">
                <a:cs typeface="+mn-cs"/>
              </a:rPr>
              <a:pPr/>
              <a:t>4%</a:t>
            </a:fld>
            <a:endParaRPr lang="en-US" sz="1400" dirty="0">
              <a:cs typeface="+mn-cs"/>
            </a:endParaRPr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4456113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30E2292-4CDE-4080-A0A2-2DCDE4A63555}" type="datetime'''''''''''''''''''''''''2''''''''''''''''''''''''02''9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29</a:t>
            </a:fld>
            <a:endParaRPr lang="en-US" sz="1400" dirty="0">
              <a:cs typeface="+mn-cs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E0A62CED-A6A2-921D-2F5C-A4AEE806396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294313" y="418941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0B1E8A1-D04D-4B5E-8CD4-04B214FC0A3E}" type="datetime'''''''2''1''''''''''''''''''''''''''''''''''%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1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81EE6AF-8538-0B27-B363-B2FFA0E3FE0D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294313" y="351155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A2C83B5-7AA7-4C31-81A5-6C40CE40DB63}" type="datetime'''1''''''4''''''%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4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64" name="Text Placeholder 2">
            <a:extLst>
              <a:ext uri="{FF2B5EF4-FFF2-40B4-BE49-F238E27FC236}">
                <a16:creationId xmlns:a16="http://schemas.microsoft.com/office/drawing/2014/main" id="{F6272AEB-C3E6-4741-3184-380DFC4425B7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5294313" y="260508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C142330-265F-4767-B2E8-360BEF996783}" type="datetime'3''''''''2''''''''''%'''''''''">
              <a:rPr lang="en-US" altLang="en-US" sz="1400" smtClean="0">
                <a:cs typeface="+mn-cs"/>
              </a:rPr>
              <a:pPr/>
              <a:t>32%</a:t>
            </a:fld>
            <a:endParaRPr lang="en-US" sz="1400" dirty="0">
              <a:cs typeface="+mn-cs"/>
            </a:endParaRPr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343526" y="1912938"/>
            <a:ext cx="307975" cy="2349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E71914F-1373-43B3-9730-18AED8E3D812}" type="datetime'''''''''''''''''''''''''''''''''''''''''''''3%'''">
              <a:rPr lang="en-US" altLang="en-US" sz="1400" smtClean="0">
                <a:cs typeface="+mn-cs"/>
              </a:rPr>
              <a:pPr/>
              <a:t>3%</a:t>
            </a:fld>
            <a:endParaRPr lang="en-US" sz="1400" dirty="0">
              <a:cs typeface="+mn-cs"/>
            </a:endParaRPr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5294313" y="59055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DAC84FB-9A81-4143-940A-3C443DA54912}" type="datetime'2''''''''''''0''''''3''''''''''0''''''''''''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30</a:t>
            </a:fld>
            <a:endParaRPr lang="en-US" sz="1400" dirty="0">
              <a:cs typeface="+mn-cs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965200" y="4241800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A2027C7-999A-4082-B043-3476F4716472}" type="datetime'''1''''''''''''2''''3'''''''''',29''9'''''''">
              <a:rPr lang="en-US" altLang="en-US" sz="1400" b="1" smtClean="0">
                <a:cs typeface="+mn-cs"/>
              </a:rPr>
              <a:pPr/>
              <a:t>123,299</a:t>
            </a:fld>
            <a:endParaRPr lang="en-US" sz="1400" b="1" dirty="0">
              <a:cs typeface="+mn-cs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1801813" y="3840163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00FD28D-67A6-4863-9793-D1B3735F7B53}" type="datetime'''15''''''''''''''9'''''''''''',''''''''89''''''2'''''''''''">
              <a:rPr lang="en-US" altLang="en-US" sz="1400" b="1" smtClean="0">
                <a:cs typeface="+mn-cs"/>
              </a:rPr>
              <a:pPr/>
              <a:t>159,892</a:t>
            </a:fld>
            <a:endParaRPr lang="en-US" sz="1400" b="1" dirty="0">
              <a:cs typeface="+mn-cs"/>
            </a:endParaRPr>
          </a:p>
        </p:txBody>
      </p:sp>
      <p:sp useBgFill="1">
        <p:nvSpPr>
          <p:cNvPr id="16" name="Text Placeholder 2">
            <a:extLst>
              <a:ext uri="{FF2B5EF4-FFF2-40B4-BE49-F238E27FC236}">
                <a16:creationId xmlns:a16="http://schemas.microsoft.com/office/drawing/2014/main" id="{13AE332F-26F0-BF86-858E-8CCC703835A9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1565275" y="5308600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EB0606B-D88C-41AE-A578-92F744FEDDF9}" type="datetime'''''''''''''''''''''''''''''''''''1''7''''''''%'''''''">
              <a:rPr lang="en-US" altLang="en-US" sz="1400" smtClean="0">
                <a:effectLst/>
                <a:cs typeface="+mn-cs"/>
              </a:rPr>
              <a:pPr/>
              <a:t>17%</a:t>
            </a:fld>
            <a:endParaRPr lang="en-US" sz="1400" dirty="0">
              <a:cs typeface="+mn-cs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3478213" y="2747963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B1B4D9D-60E6-42B9-9B0C-E0281F4BD398}" type="datetime'''''''2''57'''''''',''''''''''''''''''''''''''896'''''''''''''">
              <a:rPr lang="en-US" altLang="en-US" sz="1400" b="1" smtClean="0">
                <a:cs typeface="+mn-cs"/>
              </a:rPr>
              <a:pPr/>
              <a:t>257,896</a:t>
            </a:fld>
            <a:endParaRPr lang="en-US" sz="1400" b="1" dirty="0">
              <a:cs typeface="+mn-cs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4314825" y="2212975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D0C8E8A-901E-46AD-BB40-8B1E8B3206F4}" type="datetime'''''''3''''''''''''''''''''0''''6'''',''8''''''9''''8'''''">
              <a:rPr lang="en-US" altLang="en-US" sz="1400" b="1" smtClean="0">
                <a:cs typeface="+mn-cs"/>
              </a:rPr>
              <a:pPr/>
              <a:t>306,898</a:t>
            </a:fld>
            <a:endParaRPr lang="en-US" sz="1400" b="1" dirty="0"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5153025" y="1677988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691E333-AE17-40F1-8D61-1FF89353C5A0}" type="datetime'''''''''''''''''''''''''''''35''''''''''''''5'',''''9''0''1'">
              <a:rPr lang="en-US" altLang="en-US" sz="1400" b="1" smtClean="0">
                <a:cs typeface="+mn-cs"/>
              </a:rPr>
              <a:pPr/>
              <a:t>355,901</a:t>
            </a:fld>
            <a:endParaRPr lang="en-US" sz="1400" b="1" dirty="0">
              <a:cs typeface="+mn-cs"/>
            </a:endParaRPr>
          </a:p>
        </p:txBody>
      </p:sp>
      <p:sp useBgFill="1">
        <p:nvSpPr>
          <p:cNvPr id="263" name="Text Placeholder 2">
            <a:extLst>
              <a:ext uri="{FF2B5EF4-FFF2-40B4-BE49-F238E27FC236}">
                <a16:creationId xmlns:a16="http://schemas.microsoft.com/office/drawing/2014/main" id="{6A474CD7-373C-FCCE-F639-A70641C219E0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1565275" y="5565775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F4B81E0-41D5-4C4D-ADC4-E607D75893BC}" type="datetime'''''''''''''''''''''''''''2''''''4%'''''''''''''''''''''">
              <a:rPr lang="en-US" altLang="en-US" sz="1400" smtClean="0">
                <a:effectLst/>
                <a:cs typeface="+mn-cs"/>
              </a:rPr>
              <a:pPr/>
              <a:t>24%</a:t>
            </a:fld>
            <a:endParaRPr lang="en-US" sz="1400" dirty="0">
              <a:cs typeface="+mn-cs"/>
            </a:endParaRPr>
          </a:p>
        </p:txBody>
      </p:sp>
      <p:sp useBgFill="1">
        <p:nvSpPr>
          <p:cNvPr id="265" name="Text Placeholder 2">
            <a:extLst>
              <a:ext uri="{FF2B5EF4-FFF2-40B4-BE49-F238E27FC236}">
                <a16:creationId xmlns:a16="http://schemas.microsoft.com/office/drawing/2014/main" id="{5F66ADCA-218C-ADCC-CB7B-FCB71BB9B440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2401888" y="5483225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D455DD3-27AF-4019-B234-7C83625BF05D}" type="datetime'''''2''''''''''''''''''''''''8''''%'''">
              <a:rPr lang="en-US" altLang="en-US" sz="1400" smtClean="0">
                <a:effectLst/>
                <a:cs typeface="+mn-cs"/>
              </a:rPr>
              <a:pPr/>
              <a:t>28%</a:t>
            </a:fld>
            <a:endParaRPr lang="en-US" sz="1400" dirty="0">
              <a:cs typeface="+mn-cs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2640013" y="3281363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DC6C02D-BFF7-4913-AA72-F0A047496A17}" type="datetime'''''''2''''''''''''0''''''8'',''''''''''''894'''''''''''''''">
              <a:rPr lang="en-US" altLang="en-US" sz="1400" b="1" smtClean="0">
                <a:cs typeface="+mn-cs"/>
              </a:rPr>
              <a:pPr/>
              <a:t>208,894</a:t>
            </a:fld>
            <a:endParaRPr lang="en-US" sz="1400" b="1" dirty="0">
              <a:cs typeface="+mn-cs"/>
            </a:endParaRPr>
          </a:p>
        </p:txBody>
      </p:sp>
      <p:sp>
        <p:nvSpPr>
          <p:cNvPr id="267" name="Text Placeholder 2">
            <a:extLst>
              <a:ext uri="{FF2B5EF4-FFF2-40B4-BE49-F238E27FC236}">
                <a16:creationId xmlns:a16="http://schemas.microsoft.com/office/drawing/2014/main" id="{B8E9F64C-FABE-2536-B17B-7BD9BD8FDB1F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3619500" y="5321300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49C5E17-9133-4DAD-870B-CFD6DC6DF7EB}" type="datetime'''''''''''''29''''''''''''''''''''''''''''''''''''''''''%'">
              <a:rPr lang="en-US" altLang="en-US" sz="1400" smtClean="0">
                <a:cs typeface="+mn-cs"/>
              </a:rPr>
              <a:pPr/>
              <a:t>29%</a:t>
            </a:fld>
            <a:endParaRPr lang="en-US" sz="1400" dirty="0">
              <a:cs typeface="+mn-cs"/>
            </a:endParaRPr>
          </a:p>
        </p:txBody>
      </p:sp>
      <p:sp>
        <p:nvSpPr>
          <p:cNvPr id="271" name="Text Placeholder 2">
            <a:extLst>
              <a:ext uri="{FF2B5EF4-FFF2-40B4-BE49-F238E27FC236}">
                <a16:creationId xmlns:a16="http://schemas.microsoft.com/office/drawing/2014/main" id="{94A32C3B-A804-77B2-8A3F-2853ED62779B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4456113" y="5240338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F32FF86-59AA-4A83-A159-6A295CC5D9EF}" type="datetime'2''9''''''''''''''''''%'">
              <a:rPr lang="en-US" altLang="en-US" sz="1400" smtClean="0">
                <a:cs typeface="+mn-cs"/>
              </a:rPr>
              <a:pPr/>
              <a:t>29%</a:t>
            </a:fld>
            <a:endParaRPr lang="en-US" sz="1400" dirty="0">
              <a:cs typeface="+mn-cs"/>
            </a:endParaRPr>
          </a:p>
        </p:txBody>
      </p:sp>
      <p:sp>
        <p:nvSpPr>
          <p:cNvPr id="272" name="Text Placeholder 2">
            <a:extLst>
              <a:ext uri="{FF2B5EF4-FFF2-40B4-BE49-F238E27FC236}">
                <a16:creationId xmlns:a16="http://schemas.microsoft.com/office/drawing/2014/main" id="{ECDFAC84-3C92-B666-E8A0-D2A975B7A866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5294313" y="5159375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B3C676F-6FD9-433C-8D78-824B820A4470}" type="datetime'''''''''''2''9''''''''''''''''''%'''''''">
              <a:rPr lang="en-US" altLang="en-US" sz="1400" smtClean="0">
                <a:cs typeface="+mn-cs"/>
              </a:rPr>
              <a:pPr/>
              <a:t>29%</a:t>
            </a:fld>
            <a:endParaRPr lang="en-US" sz="1400" dirty="0">
              <a:cs typeface="+mn-cs"/>
            </a:endParaRPr>
          </a:p>
        </p:txBody>
      </p:sp>
      <p:sp useBgFill="1">
        <p:nvSpPr>
          <p:cNvPr id="10" name="Text Placeholder 2">
            <a:extLst>
              <a:ext uri="{FF2B5EF4-FFF2-40B4-BE49-F238E27FC236}">
                <a16:creationId xmlns:a16="http://schemas.microsoft.com/office/drawing/2014/main" id="{344D838A-9CE9-86A2-D9C8-12C4E3E9ED9B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1565275" y="5073650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A0F71AA-6B19-49A3-80E7-77DA0B2C1129}" type="datetime'''''''''''''''''''''''''''''''''''12''''''''''''''''%'''">
              <a:rPr lang="en-US" altLang="en-US" sz="1400" smtClean="0">
                <a:effectLst/>
                <a:cs typeface="+mn-cs"/>
              </a:rPr>
              <a:pPr/>
              <a:t>12%</a:t>
            </a:fld>
            <a:endParaRPr lang="en-US" sz="1400" dirty="0">
              <a:cs typeface="+mn-cs"/>
            </a:endParaRPr>
          </a:p>
        </p:txBody>
      </p:sp>
      <p:sp useBgFill="1">
        <p:nvSpPr>
          <p:cNvPr id="21" name="Text Placeholder 2">
            <a:extLst>
              <a:ext uri="{FF2B5EF4-FFF2-40B4-BE49-F238E27FC236}">
                <a16:creationId xmlns:a16="http://schemas.microsoft.com/office/drawing/2014/main" id="{F811A69A-5373-4B7D-AB1C-4EA48302C04A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1565275" y="4832350"/>
            <a:ext cx="406400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C72EBBB-6144-4266-8E40-9FE611FEDBFA}" type="datetime'''''''''''''''''''''''''''27''''''''%'''''''">
              <a:rPr lang="en-US" altLang="en-US" sz="1400" smtClean="0">
                <a:effectLst/>
                <a:cs typeface="+mn-cs"/>
              </a:rPr>
              <a:pPr/>
              <a:t>27%</a:t>
            </a:fld>
            <a:endParaRPr lang="en-US" sz="1400" dirty="0">
              <a:cs typeface="+mn-cs"/>
            </a:endParaRPr>
          </a:p>
        </p:txBody>
      </p:sp>
      <p:sp>
        <p:nvSpPr>
          <p:cNvPr id="266" name="Text Placeholder 2">
            <a:extLst>
              <a:ext uri="{FF2B5EF4-FFF2-40B4-BE49-F238E27FC236}">
                <a16:creationId xmlns:a16="http://schemas.microsoft.com/office/drawing/2014/main" id="{8608854F-36F4-7B9F-2CA9-23C801C9E1BC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2781300" y="5402263"/>
            <a:ext cx="406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D46510A-31D2-40BB-8DAD-75398FDD0A63}" type="datetime'''''''''''''''''''''''29''''''''''''''''''''''%'">
              <a:rPr lang="en-US" altLang="en-US" sz="1400" smtClean="0">
                <a:cs typeface="+mn-cs"/>
              </a:rPr>
              <a:pPr/>
              <a:t>29%</a:t>
            </a:fld>
            <a:endParaRPr lang="en-US" sz="1400" dirty="0">
              <a:cs typeface="+mn-cs"/>
            </a:endParaRPr>
          </a:p>
        </p:txBody>
      </p:sp>
      <p:graphicFrame>
        <p:nvGraphicFramePr>
          <p:cNvPr id="62" name="Chart 61">
            <a:extLst>
              <a:ext uri="{FF2B5EF4-FFF2-40B4-BE49-F238E27FC236}">
                <a16:creationId xmlns:a16="http://schemas.microsoft.com/office/drawing/2014/main" id="{198E9A2E-B52C-175A-7E3B-1196A58DF181}"/>
              </a:ext>
            </a:extLst>
          </p:cNvPr>
          <p:cNvGraphicFramePr/>
          <p:nvPr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2205255212"/>
              </p:ext>
            </p:extLst>
          </p:nvPr>
        </p:nvGraphicFramePr>
        <p:xfrm>
          <a:off x="6684963" y="2716213"/>
          <a:ext cx="4824412" cy="2524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1"/>
          </a:graphicData>
        </a:graphic>
      </p:graphicFrame>
      <p:sp>
        <p:nvSpPr>
          <p:cNvPr id="269" name="Text Placeholder 2">
            <a:extLst>
              <a:ext uri="{FF2B5EF4-FFF2-40B4-BE49-F238E27FC236}">
                <a16:creationId xmlns:a16="http://schemas.microsoft.com/office/drawing/2014/main" id="{89629599-86C8-63A8-EE9C-0D10B89E91DB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7518400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D0B9271-6DA0-4D7F-AD6D-50E995AD1CCD}" type="datetime'PE''P'' ''''''p''op''''''u''la''t''ion'' ''(Y''r 5'')'">
              <a:rPr lang="en-US" altLang="en-US" sz="1400" smtClean="0">
                <a:cs typeface="+mn-cs"/>
              </a:rPr>
              <a:pPr/>
              <a:t>PEP population (Yr 5)</a:t>
            </a:fld>
            <a:endParaRPr lang="en-US" sz="1400" dirty="0">
              <a:cs typeface="+mn-cs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136F67E0-4CCE-72CF-73ED-6D97CB526F1F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8683625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CB34092-9A10-4C52-BCF6-465D3B56E4D7}" type="datetime'PEP popula''''ti''''''o''n'' ''''(Yr ''''1''0'''')'''''''">
              <a:rPr lang="en-US" altLang="en-US" sz="1400" smtClean="0">
                <a:cs typeface="+mn-cs"/>
              </a:rPr>
              <a:pPr/>
              <a:t>PEP population (Yr 10)</a:t>
            </a:fld>
            <a:endParaRPr lang="en-US" sz="1400" dirty="0">
              <a:cs typeface="+mn-cs"/>
            </a:endParaRPr>
          </a:p>
        </p:txBody>
      </p:sp>
      <p:sp>
        <p:nvSpPr>
          <p:cNvPr id="256" name="Text Placeholder 2">
            <a:extLst>
              <a:ext uri="{FF2B5EF4-FFF2-40B4-BE49-F238E27FC236}">
                <a16:creationId xmlns:a16="http://schemas.microsoft.com/office/drawing/2014/main" id="{DE09F304-175B-96DB-AE61-3AEC9389FB80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9847263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E07AB30-B004-4CCC-8E0A-0A4A2A258849}" type="datetime'PEP p''o''p''''''ulat''''''ion'''''' (Yr'''' ''1''5)'''''''">
              <a:rPr lang="en-US" altLang="en-US" sz="1400" smtClean="0">
                <a:cs typeface="+mn-cs"/>
              </a:rPr>
              <a:pPr/>
              <a:t>PEP population (Yr 15)</a:t>
            </a:fld>
            <a:endParaRPr lang="en-US" sz="1400" dirty="0">
              <a:cs typeface="+mn-cs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7BE6E050-5201-1D1E-1E46-93A78C6F8CC0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11012488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9CE704F-8C39-4064-8EBB-155B103A6A84}" type="datetime'P''''E''''''''''''''''P p''opula''''t''io''n ''(Y''r 20'''')'">
              <a:rPr lang="en-US" altLang="en-US" sz="1400" smtClean="0">
                <a:cs typeface="+mn-cs"/>
              </a:rPr>
              <a:pPr/>
              <a:t>PEP population (Yr 20)</a:t>
            </a:fld>
            <a:endParaRPr lang="en-US" sz="1400" dirty="0">
              <a:cs typeface="+mn-cs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5F4012E0-7FD3-2FAB-245F-2EA74F400C18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6353175" y="5216525"/>
            <a:ext cx="830263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04D281C-6136-4783-9F6C-7B0B071E1B17}" type="datetime'P''''EP ''''po''p''''ulati''on'''''''' (''Yr'' 0'')'">
              <a:rPr lang="en-US" altLang="en-US" sz="1400" smtClean="0">
                <a:cs typeface="+mn-cs"/>
              </a:rPr>
              <a:pPr/>
              <a:t>PEP population (Yr 0)</a:t>
            </a:fld>
            <a:endParaRPr lang="en-US" sz="1400" dirty="0">
              <a:cs typeface="+mn-cs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6472238" y="4595813"/>
            <a:ext cx="5921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624213B-45C8-4F6E-8CC8-B085862B45C8}" type="datetime'''''3''''''''''''''''''''''''''''0,''''''''''''''''''00''0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0,000</a:t>
            </a:fld>
            <a:endParaRPr lang="en-US" sz="1400" dirty="0">
              <a:cs typeface="+mn-cs"/>
            </a:endParaRPr>
          </a:p>
        </p:txBody>
      </p:sp>
      <p:sp useBgFill="1">
        <p:nvSpPr>
          <p:cNvPr id="56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7588250" y="4054475"/>
            <a:ext cx="690563" cy="23495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6D3423A-629F-41C8-8477-9520CCC837BA}" type="datetime'''''1''''''''''''''''''''''04,''''''''5''''1''''''8''''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04,518</a:t>
            </a:fld>
            <a:endParaRPr lang="en-US" sz="1400" dirty="0">
              <a:cs typeface="+mn-cs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8753475" y="2455863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42D0776-D98B-455B-84CC-007E698CA0F7}" type="datetime'''''''''''3''''''''''2''''3'''''''''''',''''''9''0''9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23,909</a:t>
            </a:fld>
            <a:endParaRPr lang="en-US" sz="1400" dirty="0">
              <a:cs typeface="+mn-cs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9917113" y="2455863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0624255-B24C-41E7-8387-BE70356AF8F7}" type="datetime'''''''''''''''3''2''''''''3'''',9''0''''''9''''''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23,909</a:t>
            </a:fld>
            <a:endParaRPr lang="en-US" sz="1400" dirty="0">
              <a:cs typeface="+mn-cs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11082338" y="2455863"/>
            <a:ext cx="6905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A1CDBA7-B98E-4379-8FD2-FFF6714CE29E}" type="datetime'''''''''''''''''3''''2''''''''3'''''''''',9''''''''''''''09'">
              <a:rPr lang="en-US" altLang="en-US" sz="1400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23,909</a:t>
            </a:fld>
            <a:endParaRPr lang="en-US" sz="1400" dirty="0"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7248F328-FE31-7F89-406D-9B37BE23131F}"/>
              </a:ext>
            </a:extLst>
          </p:cNvPr>
          <p:cNvSpPr/>
          <p:nvPr>
            <p:custDataLst>
              <p:tags r:id="rId67"/>
            </p:custDataLst>
          </p:nvPr>
        </p:nvSpPr>
        <p:spPr bwMode="auto">
          <a:xfrm>
            <a:off x="1127125" y="157480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99CE2F6A-6994-4127-5CA2-CA437D5D3333}"/>
              </a:ext>
            </a:extLst>
          </p:cNvPr>
          <p:cNvSpPr/>
          <p:nvPr>
            <p:custDataLst>
              <p:tags r:id="rId68"/>
            </p:custDataLst>
          </p:nvPr>
        </p:nvSpPr>
        <p:spPr bwMode="auto">
          <a:xfrm>
            <a:off x="1127125" y="1860550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F97F10AB-55EA-1429-0464-2E65D331366F}"/>
              </a:ext>
            </a:extLst>
          </p:cNvPr>
          <p:cNvSpPr/>
          <p:nvPr>
            <p:custDataLst>
              <p:tags r:id="rId69"/>
            </p:custDataLst>
          </p:nvPr>
        </p:nvSpPr>
        <p:spPr bwMode="auto">
          <a:xfrm>
            <a:off x="1127125" y="2146300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2752CD3-0C84-AA68-C855-EF41B3CF57EE}"/>
              </a:ext>
            </a:extLst>
          </p:cNvPr>
          <p:cNvSpPr/>
          <p:nvPr>
            <p:custDataLst>
              <p:tags r:id="rId70"/>
            </p:custDataLst>
          </p:nvPr>
        </p:nvSpPr>
        <p:spPr bwMode="auto">
          <a:xfrm>
            <a:off x="2849563" y="1574800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69D67D70-12C7-30D7-D338-E301AFBBF663}"/>
              </a:ext>
            </a:extLst>
          </p:cNvPr>
          <p:cNvSpPr/>
          <p:nvPr>
            <p:custDataLst>
              <p:tags r:id="rId71"/>
            </p:custDataLst>
          </p:nvPr>
        </p:nvSpPr>
        <p:spPr bwMode="auto">
          <a:xfrm>
            <a:off x="2849563" y="1860550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1428750" y="1554163"/>
            <a:ext cx="11652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+mn-cs"/>
              </a:rPr>
              <a:t>Target 1</a:t>
            </a:r>
            <a:r>
              <a:rPr lang="en-US" sz="1400" baseline="30000" dirty="0">
                <a:cs typeface="+mn-cs"/>
              </a:rPr>
              <a:t>st</a:t>
            </a:r>
            <a:r>
              <a:rPr lang="en-US" sz="1400" dirty="0">
                <a:cs typeface="+mn-cs"/>
              </a:rPr>
              <a:t> dose</a:t>
            </a: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3151188" y="1554163"/>
            <a:ext cx="74295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B9B3807-8A84-493D-B908-EB4A226B80D9}" type="datetime'W''a''''''''''''''''''sta''''''ge'''''''''''''' 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Wastage </a:t>
            </a:fld>
            <a:endParaRPr lang="en-US" sz="1400" dirty="0">
              <a:cs typeface="+mn-cs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1428750" y="1839913"/>
            <a:ext cx="13192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7383573C-7BE5-4DDF-B34C-D682E369770B}" type="datetime'''Targ''''''''''et ''2''n''''''d d''o''s''e'''''' ''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Target 2nd dose </a:t>
            </a:fld>
            <a:endParaRPr lang="en-US" sz="1400" dirty="0">
              <a:cs typeface="+mn-cs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1428750" y="2125663"/>
            <a:ext cx="12795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1FDF86E-1093-4803-9813-739077E574FA}" type="datetime'''''T''a''rge''''''''''''t'' 3r''d'''' d''''''os''''''''''e 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Target 3rd dose </a:t>
            </a:fld>
            <a:endParaRPr lang="en-US" sz="1400" dirty="0">
              <a:cs typeface="+mn-cs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3151188" y="1839913"/>
            <a:ext cx="5191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CA31A34-056B-46A1-8B36-9E2ACC513B51}" type="datetime'''''''''''''''''B''''uf''''''''''f''''''''e''r'''''' '''''">
              <a:rPr lang="en-US" altLang="en-US" sz="14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Buffer </a:t>
            </a:fld>
            <a:endParaRPr lang="en-US" sz="1400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319928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951CDE-4970-F241-9084-848D8B074B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66989486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45291AE-EA20-071C-AD5F-3A17092735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Anne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77FD61-CC8A-DB06-DCB9-F1AE88536E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SCENARIOS AND PROGRAM PARAMETER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49D7A9-8C60-3C0B-81A3-63D9467C1A5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1947013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D86079A-78F2-A14C-79CF-6E6BC2AE3E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819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35" imgH="235" progId="TCLayout.ActiveDocument.1">
                  <p:embed/>
                </p:oleObj>
              </mc:Choice>
              <mc:Fallback>
                <p:oleObj name="think-cell Slide" r:id="rId4" imgW="235" imgH="23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86079A-78F2-A14C-79CF-6E6BC2AE3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E8905BF-DE62-D6F8-4DA8-D24AA95928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GB"/>
              <a:t>Background and purpose of Strategic Demand Scenario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32ED7B-DBC4-58A4-DFEA-AC6DF5A1120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5184776"/>
          </a:xfrm>
        </p:spPr>
        <p:txBody>
          <a:bodyPr vert="horz" lIns="0" tIns="0" rIns="0" bIns="0" numCol="1" spcCol="180000" rtlCol="0" anchor="t">
            <a:normAutofit fontScale="85000" lnSpcReduction="10000"/>
          </a:bodyPr>
          <a:lstStyle/>
          <a:p>
            <a:r>
              <a:rPr lang="en-GB" b="1" dirty="0">
                <a:latin typeface="Arial"/>
                <a:cs typeface="Arial"/>
              </a:rPr>
              <a:t>Background</a:t>
            </a:r>
          </a:p>
          <a:p>
            <a:pPr lvl="1"/>
            <a:r>
              <a:rPr lang="en-GB" dirty="0">
                <a:solidFill>
                  <a:schemeClr val="tx1"/>
                </a:solidFill>
                <a:latin typeface="Arial"/>
                <a:cs typeface="Arial"/>
              </a:rPr>
              <a:t>Rabies Investment Case prepared in 2018. Launch postponed due to COVID-19</a:t>
            </a:r>
          </a:p>
          <a:p>
            <a:pPr lvl="1"/>
            <a:r>
              <a:rPr lang="en-GB" dirty="0">
                <a:solidFill>
                  <a:schemeClr val="tx1"/>
                </a:solidFill>
              </a:rPr>
              <a:t>New launch of the GAVI Rabies Program through the publication of dedicated Vaccine Funding Guidelines on June 1, 2024</a:t>
            </a:r>
          </a:p>
          <a:p>
            <a:pPr lvl="1"/>
            <a:r>
              <a:rPr lang="en-GB" dirty="0">
                <a:solidFill>
                  <a:schemeClr val="tx1"/>
                </a:solidFill>
              </a:rPr>
              <a:t>No bottom-up volume and costing forecast available; only a </a:t>
            </a:r>
            <a:r>
              <a:rPr lang="en-US" dirty="0">
                <a:solidFill>
                  <a:schemeClr val="tx1"/>
                </a:solidFill>
              </a:rPr>
              <a:t>high-level demand forecast view, which is outdated</a:t>
            </a:r>
          </a:p>
          <a:p>
            <a:pPr lvl="1"/>
            <a:r>
              <a:rPr lang="fr-CH" dirty="0" err="1">
                <a:solidFill>
                  <a:schemeClr val="tx1"/>
                </a:solidFill>
                <a:latin typeface="Arial"/>
                <a:cs typeface="Arial"/>
              </a:rPr>
              <a:t>Development</a:t>
            </a:r>
            <a:r>
              <a:rPr lang="fr-CH" dirty="0">
                <a:solidFill>
                  <a:schemeClr val="tx1"/>
                </a:solidFill>
                <a:latin typeface="Arial"/>
                <a:cs typeface="Arial"/>
              </a:rPr>
              <a:t> of an SDS </a:t>
            </a:r>
            <a:r>
              <a:rPr lang="en-GB" dirty="0">
                <a:solidFill>
                  <a:schemeClr val="tx1"/>
                </a:solidFill>
                <a:latin typeface="Arial"/>
                <a:cs typeface="Arial"/>
              </a:rPr>
              <a:t>is required to inform country applications, future market and procurement strategy, communicate with manufacturers and provide an overview of potential demand, and GAVI financial forecasting</a:t>
            </a:r>
          </a:p>
          <a:p>
            <a:endParaRPr lang="en-GB" dirty="0">
              <a:solidFill>
                <a:schemeClr val="tx1"/>
              </a:solidFill>
            </a:endParaRPr>
          </a:p>
          <a:p>
            <a:r>
              <a:rPr lang="en-GB" b="1" dirty="0">
                <a:solidFill>
                  <a:schemeClr val="tx1"/>
                </a:solidFill>
                <a:latin typeface="Arial"/>
                <a:cs typeface="Arial"/>
              </a:rPr>
              <a:t>Purpose of an SDS: </a:t>
            </a:r>
          </a:p>
          <a:p>
            <a:pPr marL="676275" indent="-22860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tx1"/>
                </a:solidFill>
                <a:latin typeface="Arial"/>
                <a:cs typeface="Arial"/>
              </a:rPr>
              <a:t>Reflect updated programmatic assumptions </a:t>
            </a:r>
            <a:endParaRPr lang="en-GB" sz="1800" dirty="0">
              <a:solidFill>
                <a:schemeClr val="tx1"/>
              </a:solidFill>
            </a:endParaRPr>
          </a:p>
          <a:p>
            <a:pPr lvl="1"/>
            <a:r>
              <a:rPr lang="en-GB" dirty="0">
                <a:solidFill>
                  <a:schemeClr val="tx1"/>
                </a:solidFill>
                <a:latin typeface="Arial"/>
                <a:cs typeface="Arial"/>
              </a:rPr>
              <a:t>Provide a tool for countries to submit applications</a:t>
            </a:r>
          </a:p>
          <a:p>
            <a:pPr lvl="1"/>
            <a:r>
              <a:rPr lang="en-GB" dirty="0">
                <a:solidFill>
                  <a:schemeClr val="tx1"/>
                </a:solidFill>
                <a:latin typeface="Arial"/>
                <a:cs typeface="Arial"/>
              </a:rPr>
              <a:t>Provide an overview of potential Gavi demand to manufacturers  </a:t>
            </a:r>
          </a:p>
          <a:p>
            <a:pPr lvl="1"/>
            <a:r>
              <a:rPr lang="en-GB" dirty="0">
                <a:solidFill>
                  <a:schemeClr val="tx1"/>
                </a:solidFill>
                <a:latin typeface="Arial"/>
                <a:cs typeface="Arial"/>
              </a:rPr>
              <a:t>Inform future market strategy and tender/procurement decisions </a:t>
            </a:r>
            <a:endParaRPr lang="en-GB" dirty="0">
              <a:solidFill>
                <a:schemeClr val="tx1"/>
              </a:solidFill>
            </a:endParaRPr>
          </a:p>
          <a:p>
            <a:pPr lvl="1"/>
            <a:r>
              <a:rPr lang="en-GB" dirty="0">
                <a:solidFill>
                  <a:schemeClr val="tx1"/>
                </a:solidFill>
                <a:latin typeface="Arial"/>
                <a:cs typeface="Arial"/>
              </a:rPr>
              <a:t>Report financial costing requirements for GAVI (v22)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913952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FF5D959-D4B4-EBF1-22DD-91E55B52C8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9324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8" imgW="353" imgH="353" progId="TCLayout.ActiveDocument.1">
                  <p:embed/>
                </p:oleObj>
              </mc:Choice>
              <mc:Fallback>
                <p:oleObj name="think-cell Slide" r:id="rId58" imgW="353" imgH="35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F5D959-D4B4-EBF1-22DD-91E55B52C8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C0311F6-20F7-C307-939C-FB10FFE1D9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Share of rural population by country (World Bank, 2022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62EE63-D274-8DD1-F4BC-9412DEE2D4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30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505A69-7C35-4C1B-2035-6CD34037D2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esentation Footer</a:t>
            </a:r>
          </a:p>
        </p:txBody>
      </p:sp>
      <p:graphicFrame>
        <p:nvGraphicFramePr>
          <p:cNvPr id="818" name="Chart 817">
            <a:extLst>
              <a:ext uri="{FF2B5EF4-FFF2-40B4-BE49-F238E27FC236}">
                <a16:creationId xmlns:a16="http://schemas.microsoft.com/office/drawing/2014/main" id="{2354B684-073C-09E8-3C6C-6D4447F5613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3473306"/>
              </p:ext>
            </p:extLst>
          </p:nvPr>
        </p:nvGraphicFramePr>
        <p:xfrm>
          <a:off x="1446213" y="949325"/>
          <a:ext cx="10126662" cy="5389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sp>
        <p:nvSpPr>
          <p:cNvPr id="424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189038" y="1463675"/>
            <a:ext cx="409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F0349034-A579-4CF5-AEB3-4A6D388E154E}" type="datetime'''''B''''u''r''''''''''''u''''n''''''d''''''''''i'''">
              <a:rPr lang="en-US" altLang="en-US" sz="1000" smtClean="0">
                <a:latin typeface="+mn-lt"/>
                <a:cs typeface="+mn-cs"/>
              </a:rPr>
              <a:pPr/>
              <a:t>Burundi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25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319213" y="1552575"/>
            <a:ext cx="2794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3B432634-27DC-4BBB-8DE2-6A59AB656DA8}" type="datetime'N''''''''''''''''''''''''i''''''''''''''''''''g''''''er'''''">
              <a:rPr lang="en-US" altLang="en-US" sz="1000" smtClean="0">
                <a:latin typeface="+mn-lt"/>
                <a:cs typeface="+mn-cs"/>
              </a:rPr>
              <a:pPr/>
              <a:t>Niger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27" name="Text Placeholder 2">
            <a:extLst>
              <a:ext uri="{FF2B5EF4-FFF2-40B4-BE49-F238E27FC236}">
                <a16:creationId xmlns:a16="http://schemas.microsoft.com/office/drawing/2014/main" id="{52406799-FBA1-76DC-801E-A58153ABB40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185863" y="1643063"/>
            <a:ext cx="4127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16D4DB05-C173-40EF-A7AB-CFDB7AAE6E72}" type="datetime'''''''''''''''''''''''R''w''''''a''nd''''''''''''a'''''">
              <a:rPr lang="en-US" altLang="en-US" sz="1000" smtClean="0">
                <a:latin typeface="+mn-lt"/>
                <a:cs typeface="+mn-cs"/>
              </a:rPr>
              <a:pPr/>
              <a:t>Rwanda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28" name="Text Placeholder 2">
            <a:extLst>
              <a:ext uri="{FF2B5EF4-FFF2-40B4-BE49-F238E27FC236}">
                <a16:creationId xmlns:a16="http://schemas.microsoft.com/office/drawing/2014/main" id="{97400069-DDE7-EA2A-A838-12C507B6DF7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222375" y="1731963"/>
            <a:ext cx="3762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1BB4A4D6-3852-469A-8A5A-F07862E06F47}" type="datetime'''M''''''a''''''''l''''''a''''''''''w''''''''''''i'">
              <a:rPr lang="en-US" altLang="en-US" sz="1000" smtClean="0">
                <a:latin typeface="+mn-lt"/>
                <a:cs typeface="+mn-cs"/>
              </a:rPr>
              <a:pPr/>
              <a:t>Malawi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29" name="Text Placeholder 2">
            <a:extLst>
              <a:ext uri="{FF2B5EF4-FFF2-40B4-BE49-F238E27FC236}">
                <a16:creationId xmlns:a16="http://schemas.microsoft.com/office/drawing/2014/main" id="{0F0B5F6A-A0F6-533F-F9B1-F9EB0FF8F7A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49325" y="1822450"/>
            <a:ext cx="6492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669613CC-A3E6-4F6B-8BF2-1D2B0F577AB8}" type="datetime'S''o''''u''''''t''''h S''u''''d''''a''''''''''n'''''''">
              <a:rPr lang="en-US" altLang="en-US" sz="1000" smtClean="0">
                <a:latin typeface="+mn-lt"/>
                <a:cs typeface="+mn-cs"/>
              </a:rPr>
              <a:pPr/>
              <a:t>South Sudan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30" name="Text Placeholder 2">
            <a:extLst>
              <a:ext uri="{FF2B5EF4-FFF2-40B4-BE49-F238E27FC236}">
                <a16:creationId xmlns:a16="http://schemas.microsoft.com/office/drawing/2014/main" id="{0227D8D3-FB0E-2981-1C31-B51AE4292A6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296988" y="1911350"/>
            <a:ext cx="3016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26296F64-6A35-4D42-AFE6-0021D273A1E8}" type="datetime'''N''''''e''''''''''''''p''''''''''''''''''''''a''''l'''">
              <a:rPr lang="en-US" altLang="en-US" sz="1000" smtClean="0">
                <a:latin typeface="+mn-lt"/>
                <a:cs typeface="+mn-cs"/>
              </a:rPr>
              <a:pPr/>
              <a:t>Nepal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31" name="Text Placeholder 2">
            <a:extLst>
              <a:ext uri="{FF2B5EF4-FFF2-40B4-BE49-F238E27FC236}">
                <a16:creationId xmlns:a16="http://schemas.microsoft.com/office/drawing/2014/main" id="{CA5E15A5-8E79-2972-E2A6-F97C4F342A3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176338" y="2001838"/>
            <a:ext cx="4222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37657F02-CAAE-4D4B-AA19-75D2A3A55A03}" type="datetime'''''''''''''E''''t''''hi''''o''''''''p''''''i''''a'">
              <a:rPr lang="en-US" altLang="en-US" sz="1000" smtClean="0">
                <a:latin typeface="+mn-lt"/>
                <a:cs typeface="+mn-cs"/>
              </a:rPr>
              <a:pPr/>
              <a:t>Ethiopia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32" name="Text Placeholder 2">
            <a:extLst>
              <a:ext uri="{FF2B5EF4-FFF2-40B4-BE49-F238E27FC236}">
                <a16:creationId xmlns:a16="http://schemas.microsoft.com/office/drawing/2014/main" id="{65AA6787-FABE-F446-5E28-6A77B979BD1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336675" y="2090738"/>
            <a:ext cx="261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B07172CE-8AB4-43B8-8411-1EE0B2F5524F}" type="datetime'''''C''''''ha''''''''''d'''''''''''''">
              <a:rPr lang="en-US" altLang="en-US" sz="1000" smtClean="0">
                <a:latin typeface="+mn-lt"/>
                <a:cs typeface="+mn-cs"/>
              </a:rPr>
              <a:pPr/>
              <a:t>Chad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33" name="Text Placeholder 2">
            <a:extLst>
              <a:ext uri="{FF2B5EF4-FFF2-40B4-BE49-F238E27FC236}">
                <a16:creationId xmlns:a16="http://schemas.microsoft.com/office/drawing/2014/main" id="{4D7F8DB2-9169-60D6-DB9F-1A500C898B2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79500" y="2181225"/>
            <a:ext cx="5191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4A2C3772-4463-4D5A-B492-5BA74688A120}" type="datetime'''''''''''''Cambo''''''''''''''d''i''''''''''a'''''''">
              <a:rPr lang="en-US" altLang="en-US" sz="1000" smtClean="0">
                <a:latin typeface="+mn-lt"/>
                <a:cs typeface="+mn-cs"/>
              </a:rPr>
              <a:pPr/>
              <a:t>Cambodia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34" name="Text Placeholder 2">
            <a:extLst>
              <a:ext uri="{FF2B5EF4-FFF2-40B4-BE49-F238E27FC236}">
                <a16:creationId xmlns:a16="http://schemas.microsoft.com/office/drawing/2014/main" id="{C9A26995-4698-31EC-3DFE-317D11F8495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62000" y="2270125"/>
            <a:ext cx="8366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D74C5349-79E9-4443-93DB-9197374DE767}" type="datetime'''Solom''''on Is''''''''l''''''''''an''''d''''s'''''''''">
              <a:rPr lang="en-US" altLang="en-US" sz="1000" smtClean="0">
                <a:latin typeface="+mn-lt"/>
                <a:cs typeface="+mn-cs"/>
              </a:rPr>
              <a:pPr/>
              <a:t>Solomon Islands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35" name="Text Placeholder 2">
            <a:extLst>
              <a:ext uri="{FF2B5EF4-FFF2-40B4-BE49-F238E27FC236}">
                <a16:creationId xmlns:a16="http://schemas.microsoft.com/office/drawing/2014/main" id="{ACE6A2AC-A1DD-B302-3C28-A3E3D074C15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203325" y="2360613"/>
            <a:ext cx="3952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6014C35C-3089-4A52-8057-CA313F6A3A21}" type="datetime'''''''''''''Uga''''n''''''d''''''''''''''''''''''''''''a'''">
              <a:rPr lang="en-US" altLang="en-US" sz="1000" smtClean="0">
                <a:latin typeface="+mn-lt"/>
                <a:cs typeface="+mn-cs"/>
              </a:rPr>
              <a:pPr/>
              <a:t>Uganda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36" name="Text Placeholder 2">
            <a:extLst>
              <a:ext uri="{FF2B5EF4-FFF2-40B4-BE49-F238E27FC236}">
                <a16:creationId xmlns:a16="http://schemas.microsoft.com/office/drawing/2014/main" id="{23C07DC6-9549-A9C9-8442-A74EEAC6AFA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85838" y="2449513"/>
            <a:ext cx="6127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D029E597-72D8-496A-9E2A-688353795513}" type="datetime'''Af''''ghan''''''i''''''''''s''''''''t''''''''''an'''">
              <a:rPr lang="en-US" altLang="en-US" sz="1000" smtClean="0">
                <a:latin typeface="+mn-lt"/>
                <a:cs typeface="+mn-cs"/>
              </a:rPr>
              <a:pPr/>
              <a:t>Afghanistan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37" name="Text Placeholder 2">
            <a:extLst>
              <a:ext uri="{FF2B5EF4-FFF2-40B4-BE49-F238E27FC236}">
                <a16:creationId xmlns:a16="http://schemas.microsoft.com/office/drawing/2014/main" id="{5186CB33-6E7C-25B6-1413-2781F57D56F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112838" y="2540000"/>
            <a:ext cx="4857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4F40EE7C-B562-4FDE-B3EF-18C09B29ADD8}" type="datetime'T''''''''''''''''aji''''''''''''k''''''is''''t''''a''n'''''''">
              <a:rPr lang="en-US" altLang="en-US" sz="1000" smtClean="0">
                <a:latin typeface="+mn-lt"/>
                <a:cs typeface="+mn-cs"/>
              </a:rPr>
              <a:pPr/>
              <a:t>Tajikistan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38" name="Text Placeholder 2">
            <a:extLst>
              <a:ext uri="{FF2B5EF4-FFF2-40B4-BE49-F238E27FC236}">
                <a16:creationId xmlns:a16="http://schemas.microsoft.com/office/drawing/2014/main" id="{BE7A39EF-92D4-3FED-4697-DBCC841C3F9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284288" y="2628900"/>
            <a:ext cx="3143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AB82F636-508F-4221-8A50-DC17A25C59B2}" type="datetime'''''''''K''''''''''''''e''''''''nya'''">
              <a:rPr lang="en-US" altLang="en-US" sz="1000" smtClean="0">
                <a:latin typeface="+mn-lt"/>
                <a:cs typeface="+mn-cs"/>
              </a:rPr>
              <a:pPr/>
              <a:t>Kenya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39" name="Text Placeholder 2">
            <a:extLst>
              <a:ext uri="{FF2B5EF4-FFF2-40B4-BE49-F238E27FC236}">
                <a16:creationId xmlns:a16="http://schemas.microsoft.com/office/drawing/2014/main" id="{AEF9C373-C8E2-0C41-204C-49C12FC18BA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135063" y="2719388"/>
            <a:ext cx="463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9850B453-9AF6-4053-902D-305585AC43E2}" type="datetime'C''''''''o''''m''o''r''''''''''''''''''''o''s'">
              <a:rPr lang="en-US" altLang="en-US" sz="1000" smtClean="0">
                <a:latin typeface="+mn-lt"/>
                <a:cs typeface="+mn-cs"/>
              </a:rPr>
              <a:pPr/>
              <a:t>Comoros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40" name="Text Placeholder 2">
            <a:extLst>
              <a:ext uri="{FF2B5EF4-FFF2-40B4-BE49-F238E27FC236}">
                <a16:creationId xmlns:a16="http://schemas.microsoft.com/office/drawing/2014/main" id="{521C99AD-20CE-6B4F-4A0F-AB6B41BF6C3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89038" y="2808288"/>
            <a:ext cx="409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A7110FF6-3672-4BF9-81F9-8A5C8F2A172E}" type="datetime'''''''''L''e''''''''''''''''''s''''''''o''''th''''o'''">
              <a:rPr lang="en-US" altLang="en-US" sz="1000" smtClean="0">
                <a:latin typeface="+mn-lt"/>
                <a:cs typeface="+mn-cs"/>
              </a:rPr>
              <a:pPr/>
              <a:t>Lesotho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41" name="Text Placeholder 2">
            <a:extLst>
              <a:ext uri="{FF2B5EF4-FFF2-40B4-BE49-F238E27FC236}">
                <a16:creationId xmlns:a16="http://schemas.microsoft.com/office/drawing/2014/main" id="{2407519D-2738-FE64-80D5-BF5DD254FEE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100138" y="2898775"/>
            <a:ext cx="498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908BFE97-C9CF-405C-9FC2-E0577475E8DA}" type="datetime'''''M''y''''a''''''''''n''m''''a''''r'''''''''''">
              <a:rPr lang="en-US" altLang="en-US" sz="1000" smtClean="0">
                <a:latin typeface="+mn-lt"/>
                <a:cs typeface="+mn-cs"/>
              </a:rPr>
              <a:pPr/>
              <a:t>Myanmar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42" name="Text Placeholder 2">
            <a:extLst>
              <a:ext uri="{FF2B5EF4-FFF2-40B4-BE49-F238E27FC236}">
                <a16:creationId xmlns:a16="http://schemas.microsoft.com/office/drawing/2014/main" id="{FCB259EC-6799-F5F1-88E3-08F4E1FA97B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41388" y="2987675"/>
            <a:ext cx="6572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A5B7FA11-35F5-4D52-B50F-DC57119C9F14}" type="datetime'B''ur''''k''''''''in''''a'' ''''''''F''''''''''''as''o'">
              <a:rPr lang="en-US" altLang="en-US" sz="1000" smtClean="0">
                <a:latin typeface="+mn-lt"/>
                <a:cs typeface="+mn-cs"/>
              </a:rPr>
              <a:pPr/>
              <a:t>Burkina Faso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43" name="Text Placeholder 2">
            <a:extLst>
              <a:ext uri="{FF2B5EF4-FFF2-40B4-BE49-F238E27FC236}">
                <a16:creationId xmlns:a16="http://schemas.microsoft.com/office/drawing/2014/main" id="{54855731-E09B-E785-B5DE-70286BCFA8F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062038" y="3078163"/>
            <a:ext cx="536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EC88797F-CA8F-4F37-B0D0-4890E77DF220}" type="datetime'''''''''''Zi''''''''m''''''''b''''''ab''''w''''''''''''''e'''">
              <a:rPr lang="en-US" altLang="en-US" sz="1000" smtClean="0">
                <a:latin typeface="+mn-lt"/>
                <a:cs typeface="+mn-cs"/>
              </a:rPr>
              <a:pPr/>
              <a:t>Zimbabwe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44" name="Text Placeholder 2">
            <a:extLst>
              <a:ext uri="{FF2B5EF4-FFF2-40B4-BE49-F238E27FC236}">
                <a16:creationId xmlns:a16="http://schemas.microsoft.com/office/drawing/2014/main" id="{77575DD9-C571-CCD2-2B97-69C3BD8F77D0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279525" y="3167063"/>
            <a:ext cx="3190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C5FFA19B-3C4B-402E-930F-FC1154EE9F2A}" type="datetime'''''''S''u''''''d''''''''''''an'''''''''''''''''''''''''''''''">
              <a:rPr lang="en-US" altLang="en-US" sz="1000" smtClean="0">
                <a:latin typeface="+mn-lt"/>
                <a:cs typeface="+mn-cs"/>
              </a:rPr>
              <a:pPr/>
              <a:t>Sudan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45" name="Text Placeholder 2">
            <a:extLst>
              <a:ext uri="{FF2B5EF4-FFF2-40B4-BE49-F238E27FC236}">
                <a16:creationId xmlns:a16="http://schemas.microsoft.com/office/drawing/2014/main" id="{BE2F65D1-12B0-67C2-1356-25C21DD9BAE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65200" y="3257550"/>
            <a:ext cx="6334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AC0D9839-488A-4884-86CF-1A37A24F4282}" type="datetime'Tan''''za''''ni''''''''''''a'''' ''''''''''U''''''R'''''''''">
              <a:rPr lang="en-US" altLang="en-US" sz="1000" smtClean="0">
                <a:latin typeface="+mn-lt"/>
                <a:cs typeface="+mn-cs"/>
              </a:rPr>
              <a:pPr/>
              <a:t>Tanzania UR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46" name="Text Placeholder 2">
            <a:extLst>
              <a:ext uri="{FF2B5EF4-FFF2-40B4-BE49-F238E27FC236}">
                <a16:creationId xmlns:a16="http://schemas.microsoft.com/office/drawing/2014/main" id="{81969577-E7A7-6D30-3988-CDAA273817FD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042988" y="3346450"/>
            <a:ext cx="5556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C074822F-688C-4B41-8DCD-AD11109AB7AA}" type="datetime'K''''''''''''''yr''''''''''''''''''''g''y''zstan'''''''''">
              <a:rPr lang="en-US" altLang="en-US" sz="1000" smtClean="0">
                <a:latin typeface="+mn-lt"/>
                <a:cs typeface="+mn-cs"/>
              </a:rPr>
              <a:pPr/>
              <a:t>Kyrgyzstan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47" name="Text Placeholder 2">
            <a:extLst>
              <a:ext uri="{FF2B5EF4-FFF2-40B4-BE49-F238E27FC236}">
                <a16:creationId xmlns:a16="http://schemas.microsoft.com/office/drawing/2014/main" id="{7EFEC22F-047B-50A5-F740-E59093FD1EF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128713" y="3436938"/>
            <a:ext cx="4699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66BD0942-972D-4994-9C67-94BB8BA334AF}" type="datetime'''''L''''''a''o''''''s'''' P''''''''''''''D''''''R'''''''''''">
              <a:rPr lang="en-US" altLang="en-US" sz="1000" smtClean="0">
                <a:latin typeface="+mn-lt"/>
                <a:cs typeface="+mn-cs"/>
              </a:rPr>
              <a:pPr/>
              <a:t>Laos PDR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48" name="Text Placeholder 2">
            <a:extLst>
              <a:ext uri="{FF2B5EF4-FFF2-40B4-BE49-F238E27FC236}">
                <a16:creationId xmlns:a16="http://schemas.microsoft.com/office/drawing/2014/main" id="{9ADBFA51-758C-A3D9-6CCB-319B1EA86945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233488" y="3525838"/>
            <a:ext cx="3651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5151FDF8-61BA-4093-ACDB-1318E9D9682F}" type="datetime'''''''''Gu''''i''''''''''''''n''''e''''''a'''">
              <a:rPr lang="en-US" altLang="en-US" sz="1000" smtClean="0">
                <a:latin typeface="+mn-lt"/>
                <a:cs typeface="+mn-cs"/>
              </a:rPr>
              <a:pPr/>
              <a:t>Guinea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49" name="Text Placeholder 2">
            <a:extLst>
              <a:ext uri="{FF2B5EF4-FFF2-40B4-BE49-F238E27FC236}">
                <a16:creationId xmlns:a16="http://schemas.microsoft.com/office/drawing/2014/main" id="{0293853E-D6C5-CAC9-BF5D-DBC8AF849A98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168400" y="3616325"/>
            <a:ext cx="4302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9E89FFEA-63EC-4580-9D85-527D5D6FB5F4}" type="datetime'''''''''''P''''''''ak''ist''a''''n'''''''''''''">
              <a:rPr lang="en-US" altLang="en-US" sz="1000" smtClean="0">
                <a:latin typeface="+mn-lt"/>
                <a:cs typeface="+mn-cs"/>
              </a:rPr>
              <a:pPr/>
              <a:t>Pakistan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50" name="Text Placeholder 2">
            <a:extLst>
              <a:ext uri="{FF2B5EF4-FFF2-40B4-BE49-F238E27FC236}">
                <a16:creationId xmlns:a16="http://schemas.microsoft.com/office/drawing/2014/main" id="{944F7A53-E761-737D-0290-DF0852EE60AE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919163" y="3705225"/>
            <a:ext cx="6794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20676665-F7FB-4441-83C8-E63909F69601}" type="datetime'M''''''''''oz''''a''''''''''''mb''iq''''''''''''''ue'''''''">
              <a:rPr lang="en-US" altLang="en-US" sz="1000" smtClean="0">
                <a:latin typeface="+mn-lt"/>
                <a:cs typeface="+mn-cs"/>
              </a:rPr>
              <a:pPr/>
              <a:t>Mozambique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51" name="Text Placeholder 2">
            <a:extLst>
              <a:ext uri="{FF2B5EF4-FFF2-40B4-BE49-F238E27FC236}">
                <a16:creationId xmlns:a16="http://schemas.microsoft.com/office/drawing/2014/main" id="{4A3310A4-39A4-DEDE-5847-DFAF84463D88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241425" y="3795713"/>
            <a:ext cx="357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E76FD23D-D5F5-49E3-94A8-0A68328908CC}" type="datetime'''''''''''''''''''''''''''''Y''''e''m''''''e''''''n'''''''''">
              <a:rPr lang="en-US" altLang="en-US" sz="1000" smtClean="0">
                <a:latin typeface="+mn-lt"/>
                <a:cs typeface="+mn-cs"/>
              </a:rPr>
              <a:pPr/>
              <a:t>Yemen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52" name="Text Placeholder 2">
            <a:extLst>
              <a:ext uri="{FF2B5EF4-FFF2-40B4-BE49-F238E27FC236}">
                <a16:creationId xmlns:a16="http://schemas.microsoft.com/office/drawing/2014/main" id="{8AEEBD03-346F-FBDD-A8A3-5EB3680CE5B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006475" y="3884613"/>
            <a:ext cx="5921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3B75BE07-6829-4E11-B87E-60ECBE9E03DB}" type="datetime'''B''a''''''''n''''g''''''l''''a''d''''e''''''s''''h'">
              <a:rPr lang="en-US" altLang="en-US" sz="1000" smtClean="0">
                <a:latin typeface="+mn-lt"/>
                <a:cs typeface="+mn-cs"/>
              </a:rPr>
              <a:pPr/>
              <a:t>Bangladesh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53" name="Text Placeholder 2">
            <a:extLst>
              <a:ext uri="{FF2B5EF4-FFF2-40B4-BE49-F238E27FC236}">
                <a16:creationId xmlns:a16="http://schemas.microsoft.com/office/drawing/2014/main" id="{A44B1A56-3E1A-2845-7D0B-55A7DD83AAC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74725" y="3975100"/>
            <a:ext cx="6238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343068D9-337C-4611-9FFF-C788483AF4E3}" type="datetime'''''Ma''''''''''''''''''dag''''''a''''''''''''''s''''c''''ar'">
              <a:rPr lang="en-US" altLang="en-US" sz="1000" smtClean="0">
                <a:latin typeface="+mn-lt"/>
                <a:cs typeface="+mn-cs"/>
              </a:rPr>
              <a:pPr/>
              <a:t>Madagascar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54" name="Text Placeholder 2">
            <a:extLst>
              <a:ext uri="{FF2B5EF4-FFF2-40B4-BE49-F238E27FC236}">
                <a16:creationId xmlns:a16="http://schemas.microsoft.com/office/drawing/2014/main" id="{BCBC8720-AB2C-8594-BEF5-6E3759653861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252538" y="4064000"/>
            <a:ext cx="3460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B96CB459-7F32-470B-9A31-A6E02E8DDFFD}" type="datetime'E''''''''''''''''''''''ri''''''''''''tr''''''''e''''''''a'''''">
              <a:rPr lang="en-US" altLang="en-US" sz="1000" smtClean="0">
                <a:latin typeface="+mn-lt"/>
                <a:cs typeface="+mn-cs"/>
              </a:rPr>
              <a:pPr/>
              <a:t>Eritrea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55" name="Text Placeholder 2">
            <a:extLst>
              <a:ext uri="{FF2B5EF4-FFF2-40B4-BE49-F238E27FC236}">
                <a16:creationId xmlns:a16="http://schemas.microsoft.com/office/drawing/2014/main" id="{01648A55-C805-8F34-B867-61355CB2C72E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58775" y="4154488"/>
            <a:ext cx="12398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E578EBB4-A819-40A1-B967-058AA3A3C97C}" type="datetime'C''e''''''''nt''r''''al ''''Af''ric''''a''''n Repub''li''''c'">
              <a:rPr lang="en-US" altLang="en-US" sz="1000" smtClean="0">
                <a:latin typeface="+mn-lt"/>
                <a:cs typeface="+mn-cs"/>
              </a:rPr>
              <a:pPr/>
              <a:t>Central African Republic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56" name="Text Placeholder 2">
            <a:extLst>
              <a:ext uri="{FF2B5EF4-FFF2-40B4-BE49-F238E27FC236}">
                <a16:creationId xmlns:a16="http://schemas.microsoft.com/office/drawing/2014/main" id="{E4BE7DB6-FD71-1057-466F-A1987A1B2772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955675" y="4243388"/>
            <a:ext cx="642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B2E33DCE-9D94-4E27-B1B8-F0B9F6BC9598}" type="datetime'''''''''''''''''''''''Sie''''''r''''''''r''a Le''on''''e'''">
              <a:rPr lang="en-US" altLang="en-US" sz="1000" smtClean="0">
                <a:latin typeface="+mn-lt"/>
                <a:cs typeface="+mn-cs"/>
              </a:rPr>
              <a:pPr/>
              <a:t>Sierra Leone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57" name="Text Placeholder 2">
            <a:extLst>
              <a:ext uri="{FF2B5EF4-FFF2-40B4-BE49-F238E27FC236}">
                <a16:creationId xmlns:a16="http://schemas.microsoft.com/office/drawing/2014/main" id="{61577D22-4A6B-9EF6-9EAF-77BD1C6F0806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343025" y="4333875"/>
            <a:ext cx="2555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AB82006B-B7C3-4B0C-B5E3-776CFDB0AA16}" type="datetime'''''''''''''''''T''''''''o''''''''''g''''o'''''''''">
              <a:rPr lang="en-US" altLang="en-US" sz="1000" smtClean="0">
                <a:latin typeface="+mn-lt"/>
                <a:cs typeface="+mn-cs"/>
              </a:rPr>
              <a:pPr/>
              <a:t>Togo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58" name="Text Placeholder 2">
            <a:extLst>
              <a:ext uri="{FF2B5EF4-FFF2-40B4-BE49-F238E27FC236}">
                <a16:creationId xmlns:a16="http://schemas.microsoft.com/office/drawing/2014/main" id="{D70016B2-E02B-F643-62FE-23D828337C6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871538" y="4422775"/>
            <a:ext cx="7270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2AC3D6D6-F848-45FC-B454-7E73F94F61CF}" type="datetime'G''''''u''i''''''''''''''n''''''''''e''a-Bi''''''''''''ssau'''">
              <a:rPr lang="en-US" altLang="en-US" sz="1000" smtClean="0">
                <a:latin typeface="+mn-lt"/>
                <a:cs typeface="+mn-cs"/>
              </a:rPr>
              <a:pPr/>
              <a:t>Guinea-Bissau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59" name="Text Placeholder 2">
            <a:extLst>
              <a:ext uri="{FF2B5EF4-FFF2-40B4-BE49-F238E27FC236}">
                <a16:creationId xmlns:a16="http://schemas.microsoft.com/office/drawing/2014/main" id="{3BAE40A4-89C4-41D5-8FA4-10ACF1BA696B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373188" y="4513263"/>
            <a:ext cx="2254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D8F30360-0A82-4D01-980F-1641EC456D98}" type="datetime'''''''''''M''''''''''''''''''''''''''''''''a''li'">
              <a:rPr lang="en-US" altLang="en-US" sz="1000" smtClean="0">
                <a:latin typeface="+mn-lt"/>
                <a:cs typeface="+mn-cs"/>
              </a:rPr>
              <a:pPr/>
              <a:t>Mali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60" name="Text Placeholder 2">
            <a:extLst>
              <a:ext uri="{FF2B5EF4-FFF2-40B4-BE49-F238E27FC236}">
                <a16:creationId xmlns:a16="http://schemas.microsoft.com/office/drawing/2014/main" id="{1DA3D475-FF90-7F80-EFFE-B5E9E9A4467C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1222375" y="4602163"/>
            <a:ext cx="3762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39283D87-53B3-4B84-993C-D2AFC416DBBB}" type="datetime'''Z''a''''''''''''''m''''''''''bia'''''''''''''''''">
              <a:rPr lang="en-US" altLang="en-US" sz="1000" smtClean="0">
                <a:latin typeface="+mn-lt"/>
                <a:cs typeface="+mn-cs"/>
              </a:rPr>
              <a:pPr/>
              <a:t>Zambia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61" name="Text Placeholder 2">
            <a:extLst>
              <a:ext uri="{FF2B5EF4-FFF2-40B4-BE49-F238E27FC236}">
                <a16:creationId xmlns:a16="http://schemas.microsoft.com/office/drawing/2014/main" id="{2D5EC051-FBB5-CBB1-D040-AAF51D678D88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027113" y="4692650"/>
            <a:ext cx="5715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D86A3F5C-AC15-44B8-A3FC-E3062DDB7D20}" type="datetime'''''''''''''C''''o''''''''''''''ng''''o'''' D''''R''''C'">
              <a:rPr lang="en-US" altLang="en-US" sz="1000" smtClean="0">
                <a:latin typeface="+mn-lt"/>
                <a:cs typeface="+mn-cs"/>
              </a:rPr>
              <a:pPr/>
              <a:t>Congo DRC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62" name="Text Placeholder 2">
            <a:extLst>
              <a:ext uri="{FF2B5EF4-FFF2-40B4-BE49-F238E27FC236}">
                <a16:creationId xmlns:a16="http://schemas.microsoft.com/office/drawing/2014/main" id="{5E362FDC-0B7E-4D38-0F4A-1CB4BFD863B0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193800" y="4781550"/>
            <a:ext cx="404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DF936CB9-6DD3-460E-B40F-8F00D183D204}" type="datetime'''''S''''''o''''''m''a''''''''''''''''''''l''''''ia'''">
              <a:rPr lang="en-US" altLang="en-US" sz="1000" smtClean="0">
                <a:latin typeface="+mn-lt"/>
                <a:cs typeface="+mn-cs"/>
              </a:rPr>
              <a:pPr/>
              <a:t>Somalia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63" name="Text Placeholder 2">
            <a:extLst>
              <a:ext uri="{FF2B5EF4-FFF2-40B4-BE49-F238E27FC236}">
                <a16:creationId xmlns:a16="http://schemas.microsoft.com/office/drawing/2014/main" id="{E3FCCE75-E34C-BF13-1EC5-DE313120B731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196975" y="4872038"/>
            <a:ext cx="4016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1EEA66BB-38CA-4848-B080-2525756B466A}" type="datetime'S''''''''e''ne''g''''al'''''''''''''''''''''''''''''''''''''''">
              <a:rPr lang="en-US" altLang="en-US" sz="1000" smtClean="0">
                <a:latin typeface="+mn-lt"/>
                <a:cs typeface="+mn-cs"/>
              </a:rPr>
              <a:pPr/>
              <a:t>Senegal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64" name="Text Placeholder 2">
            <a:extLst>
              <a:ext uri="{FF2B5EF4-FFF2-40B4-BE49-F238E27FC236}">
                <a16:creationId xmlns:a16="http://schemas.microsoft.com/office/drawing/2014/main" id="{B37CC515-833A-46E5-A24D-8012B95DED5A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303338" y="4960938"/>
            <a:ext cx="2952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769EC69E-289E-4832-89A5-9EE3CD1B21BB}" type="datetime'''''''B''eni''''''''''''''''n'''''''''''''''''''''''''''''''">
              <a:rPr lang="en-US" altLang="en-US" sz="1000" smtClean="0">
                <a:latin typeface="+mn-lt"/>
                <a:cs typeface="+mn-cs"/>
              </a:rPr>
              <a:pPr/>
              <a:t>Benin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65" name="Text Placeholder 2">
            <a:extLst>
              <a:ext uri="{FF2B5EF4-FFF2-40B4-BE49-F238E27FC236}">
                <a16:creationId xmlns:a16="http://schemas.microsoft.com/office/drawing/2014/main" id="{53485ADD-7D1C-D858-0E27-4D95E763EE05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938213" y="5051425"/>
            <a:ext cx="6604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195BBCB5-051F-4886-B19B-29C4B3901209}" type="datetime'''Cô''t''''''''e'''''' d’I''vo''''''''''i''re'''">
              <a:rPr lang="en-US" altLang="en-US" sz="1000" smtClean="0">
                <a:latin typeface="+mn-lt"/>
                <a:cs typeface="+mn-cs"/>
              </a:rPr>
              <a:pPr/>
              <a:t>Côte d’Ivoire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22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620713" y="1373188"/>
            <a:ext cx="9779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981A43D0-F1A9-46C9-AFA6-37CD2435CF0B}" type="datetime'Pap''ua'' ''Ne''''w'''''' G''''''''''''''''u''''in''''''e''a'">
              <a:rPr lang="en-US" altLang="en-US" sz="1000" smtClean="0">
                <a:latin typeface="+mn-lt"/>
                <a:cs typeface="+mn-cs"/>
              </a:rPr>
              <a:pPr/>
              <a:t>Papua New Guinea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67" name="Text Placeholder 2">
            <a:extLst>
              <a:ext uri="{FF2B5EF4-FFF2-40B4-BE49-F238E27FC236}">
                <a16:creationId xmlns:a16="http://schemas.microsoft.com/office/drawing/2014/main" id="{B5A2CE13-079A-1ED3-F436-FF813293B6B7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1230313" y="5230813"/>
            <a:ext cx="3683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EC350CA9-98C5-43C2-9A61-C422705DACD8}" type="datetime'''''Nig''''''''''''e''''''r''''''''''''''''ia'''''''">
              <a:rPr lang="en-US" altLang="en-US" sz="1000" smtClean="0">
                <a:latin typeface="+mn-lt"/>
                <a:cs typeface="+mn-cs"/>
              </a:rPr>
              <a:pPr/>
              <a:t>Nigeria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68" name="Text Placeholder 2">
            <a:extLst>
              <a:ext uri="{FF2B5EF4-FFF2-40B4-BE49-F238E27FC236}">
                <a16:creationId xmlns:a16="http://schemas.microsoft.com/office/drawing/2014/main" id="{F61111F8-2235-6693-46DF-58082E3CB440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538163" y="5319713"/>
            <a:ext cx="10604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5B8F0C23-C65C-4464-9C37-716B41DC8AA1}" type="datetime'''S''''y''rian Ara''b'''' R''''''''''''ep''''u''b''l''''ic'''">
              <a:rPr lang="en-US" altLang="en-US" sz="1000" smtClean="0">
                <a:latin typeface="+mn-lt"/>
                <a:cs typeface="+mn-cs"/>
              </a:rPr>
              <a:pPr/>
              <a:t>Syrian Arab Republic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69" name="Text Placeholder 2">
            <a:extLst>
              <a:ext uri="{FF2B5EF4-FFF2-40B4-BE49-F238E27FC236}">
                <a16:creationId xmlns:a16="http://schemas.microsoft.com/office/drawing/2014/main" id="{E8FB8E71-2B5F-CDB4-0994-BCC36FD3474F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1031875" y="5410200"/>
            <a:ext cx="5667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9E1A784A-9586-4F16-B701-C6DFF3750EA0}" type="datetime'''''M''''''au''''r''i''''''''t''a''''''''''n''''''i''''''a'''">
              <a:rPr lang="en-US" altLang="en-US" sz="1000" smtClean="0">
                <a:latin typeface="+mn-lt"/>
                <a:cs typeface="+mn-cs"/>
              </a:rPr>
              <a:pPr/>
              <a:t>Mauritania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70" name="Text Placeholder 2">
            <a:extLst>
              <a:ext uri="{FF2B5EF4-FFF2-40B4-BE49-F238E27FC236}">
                <a16:creationId xmlns:a16="http://schemas.microsoft.com/office/drawing/2014/main" id="{8D753FD2-2013-1FA2-B6E6-7E1F855C2DC1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1265238" y="5499100"/>
            <a:ext cx="3333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78521DFB-931D-41F2-8830-F0EC248BC915}" type="datetime'Gh''''''''''''''''''''''''''''''a''''''''''n''''a'''">
              <a:rPr lang="en-US" altLang="en-US" sz="1000" smtClean="0">
                <a:latin typeface="+mn-lt"/>
                <a:cs typeface="+mn-cs"/>
              </a:rPr>
              <a:pPr/>
              <a:t>Ghana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71" name="Text Placeholder 2">
            <a:extLst>
              <a:ext uri="{FF2B5EF4-FFF2-40B4-BE49-F238E27FC236}">
                <a16:creationId xmlns:a16="http://schemas.microsoft.com/office/drawing/2014/main" id="{E2CD96F7-DC90-E31F-0940-F7662C068CB5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1060450" y="5589588"/>
            <a:ext cx="5381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FEFED713-1E52-4CE9-B76B-3CC7476E8BAE}" type="datetime'C''''a''''''''''''''me''''r''''''o''''''''o''''''n'''''">
              <a:rPr lang="en-US" altLang="en-US" sz="1000" smtClean="0">
                <a:latin typeface="+mn-lt"/>
                <a:cs typeface="+mn-cs"/>
              </a:rPr>
              <a:pPr/>
              <a:t>Cameroon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66" name="Text Placeholder 2">
            <a:extLst>
              <a:ext uri="{FF2B5EF4-FFF2-40B4-BE49-F238E27FC236}">
                <a16:creationId xmlns:a16="http://schemas.microsoft.com/office/drawing/2014/main" id="{E1C378A9-461C-388C-D958-BF1E834EEAD9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1252538" y="5140325"/>
            <a:ext cx="3460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9B6FF6FC-DF2C-43D4-8737-B2D3CA5AFAE2}" type="datetime'''L''i''''''b''''''e''r''''''''''i''''''''''''a'''">
              <a:rPr lang="en-US" altLang="en-US" sz="1000" smtClean="0">
                <a:latin typeface="+mn-lt"/>
                <a:cs typeface="+mn-cs"/>
              </a:rPr>
              <a:pPr/>
              <a:t>Liberia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73" name="Text Placeholder 2">
            <a:extLst>
              <a:ext uri="{FF2B5EF4-FFF2-40B4-BE49-F238E27FC236}">
                <a16:creationId xmlns:a16="http://schemas.microsoft.com/office/drawing/2014/main" id="{03404690-ADD1-DD61-321D-029C6ADCF1DF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1057275" y="5768975"/>
            <a:ext cx="5413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FCB7A18B-60D2-486A-B030-508E099B4378}" type="datetime'''K''''''''''''''''o''''re''a'''''''''''' ''''P''''D''R'''''''">
              <a:rPr lang="en-US" altLang="en-US" sz="1000" smtClean="0">
                <a:latin typeface="+mn-lt"/>
                <a:cs typeface="+mn-cs"/>
              </a:rPr>
              <a:pPr/>
              <a:t>Korea PDR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74" name="Text Placeholder 2">
            <a:extLst>
              <a:ext uri="{FF2B5EF4-FFF2-40B4-BE49-F238E27FC236}">
                <a16:creationId xmlns:a16="http://schemas.microsoft.com/office/drawing/2014/main" id="{FC05C360-CE46-F040-11F0-B1B215FE7548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1201738" y="5857875"/>
            <a:ext cx="3968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14D0FEAB-4D3F-4070-A6D2-0DCABF2C7E6A}" type="datetime'''''''G''''''''''''a''''''m''''''''''''bi''''a'''''">
              <a:rPr lang="en-US" altLang="en-US" sz="1000" smtClean="0">
                <a:latin typeface="+mn-lt"/>
                <a:cs typeface="+mn-cs"/>
              </a:rPr>
              <a:pPr/>
              <a:t>Gambia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75" name="Text Placeholder 2">
            <a:extLst>
              <a:ext uri="{FF2B5EF4-FFF2-40B4-BE49-F238E27FC236}">
                <a16:creationId xmlns:a16="http://schemas.microsoft.com/office/drawing/2014/main" id="{5128D5A8-1F7E-F795-DFF9-6CB5CAC8E2D1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1270000" y="5948363"/>
            <a:ext cx="3286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A3FA8571-67D5-4F76-A442-F9D4CC65AF60}" type="datetime'''C''''''''''''''''''''o''n''''go'''''''''''''''">
              <a:rPr lang="en-US" altLang="en-US" sz="1000" smtClean="0">
                <a:latin typeface="+mn-lt"/>
                <a:cs typeface="+mn-cs"/>
              </a:rPr>
              <a:pPr/>
              <a:t>Congo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76" name="Text Placeholder 2">
            <a:extLst>
              <a:ext uri="{FF2B5EF4-FFF2-40B4-BE49-F238E27FC236}">
                <a16:creationId xmlns:a16="http://schemas.microsoft.com/office/drawing/2014/main" id="{F9971CC9-BE52-BAED-CABD-C4FCC0510E5A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422275" y="6037263"/>
            <a:ext cx="11763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A5489F30-35B7-4D68-8742-ED5565B9DB31}" type="datetime'''''Sa''''''o T''''om''e a''''''nd'' ''''P''rin''''ci''p''e'">
              <a:rPr lang="en-US" altLang="en-US" sz="1000" smtClean="0">
                <a:latin typeface="+mn-lt"/>
                <a:cs typeface="+mn-cs"/>
              </a:rPr>
              <a:pPr/>
              <a:t>Sao Tome and Principe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77" name="Text Placeholder 2">
            <a:extLst>
              <a:ext uri="{FF2B5EF4-FFF2-40B4-BE49-F238E27FC236}">
                <a16:creationId xmlns:a16="http://schemas.microsoft.com/office/drawing/2014/main" id="{1E55FB81-87F3-87A9-072A-08BC9E90D872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1190625" y="6127750"/>
            <a:ext cx="4079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464964E8-E52F-4694-BC2E-999EF2A693E3}" type="datetime'''''D''jibo''''''''''''''''''''''u''''''''''''t''''''''''i'">
              <a:rPr lang="en-US" altLang="en-US" sz="1000" smtClean="0">
                <a:latin typeface="+mn-lt"/>
                <a:cs typeface="+mn-cs"/>
              </a:rPr>
              <a:pPr/>
              <a:t>Djibouti</a:t>
            </a:fld>
            <a:endParaRPr lang="en-US" sz="1000" dirty="0">
              <a:latin typeface="+mn-lt"/>
              <a:cs typeface="+mn-cs"/>
            </a:endParaRPr>
          </a:p>
        </p:txBody>
      </p:sp>
      <p:sp>
        <p:nvSpPr>
          <p:cNvPr id="472" name="Text Placeholder 2">
            <a:extLst>
              <a:ext uri="{FF2B5EF4-FFF2-40B4-BE49-F238E27FC236}">
                <a16:creationId xmlns:a16="http://schemas.microsoft.com/office/drawing/2014/main" id="{FB13D050-1D68-4982-0286-3C2F0B8269C6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1358900" y="5678488"/>
            <a:ext cx="2397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2A5F2F90-EFEB-43E1-B495-EFE6B456ACBE}" type="datetime'H''''''''''''''''''''''''''a''''i''''''''''''''''''''ti'''''''">
              <a:rPr lang="en-US" altLang="en-US" sz="1000" smtClean="0">
                <a:latin typeface="+mn-lt"/>
                <a:cs typeface="+mn-cs"/>
              </a:rPr>
              <a:pPr/>
              <a:t>Haiti</a:t>
            </a:fld>
            <a:endParaRPr lang="en-US" sz="1000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22547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E28373-22D3-43F2-BA08-F363627EA3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Key stakeholders for engage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239300-CA47-16FD-BF36-1318019B8C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4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3534D6-336F-9C10-C09F-BC71BB40D5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esentation Footer</a:t>
            </a:r>
          </a:p>
        </p:txBody>
      </p:sp>
      <p:graphicFrame>
        <p:nvGraphicFramePr>
          <p:cNvPr id="7" name="Table 5">
            <a:extLst>
              <a:ext uri="{FF2B5EF4-FFF2-40B4-BE49-F238E27FC236}">
                <a16:creationId xmlns:a16="http://schemas.microsoft.com/office/drawing/2014/main" id="{7E752B28-CBF3-5142-485F-BFD2FBE0C3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4517791"/>
              </p:ext>
            </p:extLst>
          </p:nvPr>
        </p:nvGraphicFramePr>
        <p:xfrm>
          <a:off x="777567" y="1655111"/>
          <a:ext cx="9883734" cy="1645920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4666020">
                  <a:extLst>
                    <a:ext uri="{9D8B030D-6E8A-4147-A177-3AD203B41FA5}">
                      <a16:colId xmlns:a16="http://schemas.microsoft.com/office/drawing/2014/main" val="1288154223"/>
                    </a:ext>
                  </a:extLst>
                </a:gridCol>
                <a:gridCol w="5217714">
                  <a:extLst>
                    <a:ext uri="{9D8B030D-6E8A-4147-A177-3AD203B41FA5}">
                      <a16:colId xmlns:a16="http://schemas.microsoft.com/office/drawing/2014/main" val="1899287310"/>
                    </a:ext>
                  </a:extLst>
                </a:gridCol>
              </a:tblGrid>
              <a:tr h="574059">
                <a:tc>
                  <a:txBody>
                    <a:bodyPr/>
                    <a:lstStyle/>
                    <a:p>
                      <a:r>
                        <a:rPr lang="en-GB" sz="1800" b="1"/>
                        <a:t>Core working group </a:t>
                      </a:r>
                    </a:p>
                    <a:p>
                      <a:r>
                        <a:rPr lang="en-GB" sz="1200" b="0"/>
                        <a:t>(Meet frequently to develop forecast and lead process)</a:t>
                      </a:r>
                      <a:endParaRPr lang="en-GB" sz="18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b="1" dirty="0"/>
                        <a:t>Steering group</a:t>
                      </a:r>
                    </a:p>
                    <a:p>
                      <a:r>
                        <a:rPr lang="en-GB" sz="1200" b="0" dirty="0"/>
                        <a:t>(Interim touchpoints for internal process considerations and internal approval pathway)</a:t>
                      </a:r>
                      <a:endParaRPr lang="en-GB" sz="18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6083321"/>
                  </a:ext>
                </a:extLst>
              </a:tr>
              <a:tr h="535045">
                <a:tc>
                  <a:txBody>
                    <a:bodyPr/>
                    <a:lstStyle/>
                    <a:p>
                      <a:r>
                        <a:rPr lang="en-GB" sz="1800" b="0" dirty="0"/>
                        <a:t>VP – Simbarashe </a:t>
                      </a:r>
                      <a:r>
                        <a:rPr lang="en-GB" sz="1800" b="0" dirty="0" err="1"/>
                        <a:t>Mabaya</a:t>
                      </a:r>
                      <a:r>
                        <a:rPr lang="en-GB" sz="1800" b="0" dirty="0"/>
                        <a:t> &amp; Micheal </a:t>
                      </a:r>
                      <a:r>
                        <a:rPr lang="en-GB" sz="1800" b="0" dirty="0" err="1"/>
                        <a:t>Besong</a:t>
                      </a:r>
                      <a:endParaRPr lang="en-GB" sz="1800" b="0" dirty="0"/>
                    </a:p>
                    <a:p>
                      <a:r>
                        <a:rPr lang="en-GB" sz="1800" b="0" dirty="0"/>
                        <a:t>MS – Margarita </a:t>
                      </a:r>
                      <a:r>
                        <a:rPr lang="en-GB" sz="1800" b="0" dirty="0" err="1"/>
                        <a:t>Xydia</a:t>
                      </a:r>
                      <a:r>
                        <a:rPr lang="en-GB" sz="1800" b="0" dirty="0"/>
                        <a:t> </a:t>
                      </a:r>
                      <a:r>
                        <a:rPr lang="en-GB" sz="1800" b="0" dirty="0" err="1"/>
                        <a:t>Charmanta</a:t>
                      </a:r>
                      <a:r>
                        <a:rPr lang="en-GB" sz="1800" b="0" dirty="0"/>
                        <a:t>  </a:t>
                      </a:r>
                    </a:p>
                    <a:p>
                      <a:r>
                        <a:rPr lang="en-GB" sz="1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FGO– Maël Redard-Jacot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b="0" dirty="0"/>
                        <a:t>VP – </a:t>
                      </a:r>
                      <a:r>
                        <a:rPr lang="en-GB" sz="1800" b="0" dirty="0" err="1"/>
                        <a:t>Jalaa</a:t>
                      </a:r>
                      <a:r>
                        <a:rPr lang="en-GB" sz="1800" b="0" dirty="0"/>
                        <a:t>' </a:t>
                      </a:r>
                      <a:r>
                        <a:rPr lang="en-GB" sz="1800" b="0" dirty="0" err="1"/>
                        <a:t>Abdelwahab</a:t>
                      </a:r>
                      <a:endParaRPr lang="en-GB" sz="1800" b="0" dirty="0"/>
                    </a:p>
                    <a:p>
                      <a:r>
                        <a:rPr lang="en-GB" sz="1800" b="0" dirty="0"/>
                        <a:t>VFGO – Matt Blakley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dirty="0"/>
                        <a:t>MS – Dominic Hein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2948304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44A508C7-5C16-5E95-AD4C-2B046889FF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4008146"/>
              </p:ext>
            </p:extLst>
          </p:nvPr>
        </p:nvGraphicFramePr>
        <p:xfrm>
          <a:off x="777567" y="4095566"/>
          <a:ext cx="9883734" cy="1463040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9883734">
                  <a:extLst>
                    <a:ext uri="{9D8B030D-6E8A-4147-A177-3AD203B41FA5}">
                      <a16:colId xmlns:a16="http://schemas.microsoft.com/office/drawing/2014/main" val="128815422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800" b="1"/>
                        <a:t>External partners for assumptions validations</a:t>
                      </a:r>
                    </a:p>
                    <a:p>
                      <a:r>
                        <a:rPr lang="en-GB" sz="1200" b="0"/>
                        <a:t>(Interim touchpoints for alignment and inputs)</a:t>
                      </a:r>
                      <a:endParaRPr lang="en-GB" sz="18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60833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abies Coordination team (UNICEF Program, WHO, WB, Africa CDC, Swiss Tropical Institute, US CDC, etc.)</a:t>
                      </a:r>
                    </a:p>
                    <a:p>
                      <a:pPr marL="285750" indent="-2857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NICEF SD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29483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905692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think-cell data - do not delete" hidden="1">
            <a:extLst>
              <a:ext uri="{FF2B5EF4-FFF2-40B4-BE49-F238E27FC236}">
                <a16:creationId xmlns:a16="http://schemas.microsoft.com/office/drawing/2014/main" id="{DC184EE5-4B41-E085-B569-B9C6F4CFCB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0388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1" imgW="204" imgH="204" progId="TCLayout.ActiveDocument.1">
                  <p:embed/>
                </p:oleObj>
              </mc:Choice>
              <mc:Fallback>
                <p:oleObj name="think-cell Slide" r:id="rId71" imgW="204" imgH="204" progId="TCLayout.ActiveDocument.1">
                  <p:embed/>
                  <p:pic>
                    <p:nvPicPr>
                      <p:cNvPr id="6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184EE5-4B41-E085-B569-B9C6F4CFCB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B55C58-645A-4CD8-FE9F-CBDD8C8B27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2F3B42-B8DE-255F-3C8B-D2CB2BC4A8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5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CDF919-FB6D-FA80-43E0-2C6C8B40F6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esentation Footer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868863" y="1181100"/>
            <a:ext cx="681038" cy="2825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D4B7F80-6AD4-4D91-BAC3-85057C43B736}" type="datetime'''''''''''M''a''''''r'''''''''''''''''''''''''''''''''''''''''">
              <a:rPr lang="en-US" altLang="en-US" sz="1400" b="1" smtClean="0">
                <a:effectLst/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Mar</a:t>
            </a:fld>
            <a:endParaRPr lang="en-US" sz="1400" b="1" dirty="0">
              <a:cs typeface="+mn-cs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13B77AC1-D835-B29F-C23A-EF407FE3FD22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549900" y="1181100"/>
            <a:ext cx="998538" cy="2825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5592CEC-4129-4F20-A09C-EF91C65D80DC}" type="datetime'''''''''''''''''''''''''''''''A''''''p''''''''''''''r'''">
              <a:rPr lang="en-US" altLang="en-US" sz="1400" b="1" smtClean="0">
                <a:cs typeface="+mn-cs"/>
              </a:rPr>
              <a:pPr/>
              <a:t>Apr</a:t>
            </a:fld>
            <a:endParaRPr lang="en-US" sz="1400" b="1" dirty="0">
              <a:cs typeface="+mn-cs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27B6678-F7EB-D947-87AB-9007B568C05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548438" y="1181100"/>
            <a:ext cx="1044575" cy="2825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15A62EA-0033-4F8E-8FAE-BC1354854A16}" type="datetime'''''''M''a''''''''''''''''y'''''''">
              <a:rPr lang="en-US" altLang="en-US" sz="1400" b="1" smtClean="0">
                <a:cs typeface="+mn-cs"/>
              </a:rPr>
              <a:pPr/>
              <a:t>May</a:t>
            </a:fld>
            <a:endParaRPr lang="en-US" sz="1400" b="1" dirty="0">
              <a:cs typeface="+mn-cs"/>
            </a:endParaRPr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A3D47B68-7414-4EF6-412F-0B37D1E9202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593013" y="1181100"/>
            <a:ext cx="908050" cy="2825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4F14253-3849-4A7D-BBBA-E89358D9BA06}" type="datetime'''''''J''''''''''''''u''''''''''n'''''''''''''''''''''''">
              <a:rPr lang="en-US" altLang="en-US" sz="1400" b="1" smtClean="0">
                <a:cs typeface="+mn-cs"/>
              </a:rPr>
              <a:pPr/>
              <a:t>Jun</a:t>
            </a:fld>
            <a:endParaRPr lang="en-US" sz="1400" b="1" dirty="0">
              <a:cs typeface="+mn-cs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B744B18-0518-8224-2DCC-8500EF0377F6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5549900" y="1463674"/>
            <a:ext cx="0" cy="3760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1304F46-820A-FEDC-1320-4BCBB08B5935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6548438" y="1463674"/>
            <a:ext cx="0" cy="3760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5DCC9CB9-6196-5B77-00D8-A3B8B8B1A83D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7593013" y="1463674"/>
            <a:ext cx="0" cy="3760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0D5653AB-A3D1-E7B2-8845-1333FAFAB797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4868863" y="1463674"/>
            <a:ext cx="0" cy="37607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A416EB9E-32B9-A9F7-9C18-E2F9D1AD702F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8501063" y="1463674"/>
            <a:ext cx="0" cy="37607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8F63F14F-38C4-971B-3EEB-6FD9776E5E0A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449263" y="1463674"/>
            <a:ext cx="0" cy="37607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0" name="Straight Connector 309">
            <a:extLst>
              <a:ext uri="{FF2B5EF4-FFF2-40B4-BE49-F238E27FC236}">
                <a16:creationId xmlns:a16="http://schemas.microsoft.com/office/drawing/2014/main" id="{2DB6E95A-C8B1-1AD2-ED04-FACE4CEE081B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11676063" y="1463675"/>
            <a:ext cx="0" cy="37607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9C3E1025-4300-9AF5-2724-8BABB55A3697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6230938" y="1463674"/>
            <a:ext cx="0" cy="3760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1FDC2C18-8CC3-D051-C4E7-A4BC4300D339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6457950" y="1463674"/>
            <a:ext cx="0" cy="3760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A715EC20-11EB-9C5A-D770-FB62A8A6FAB0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6684963" y="1463674"/>
            <a:ext cx="0" cy="3760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85B6323D-DF68-3748-6CF7-2BC97DEE06A3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6911975" y="1463674"/>
            <a:ext cx="0" cy="3760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6155904B-0BAE-493D-1DE8-19CFB508A502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7138988" y="1463674"/>
            <a:ext cx="0" cy="3760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5E74D08D-5520-B153-0529-A8400FC35724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7366000" y="1463674"/>
            <a:ext cx="0" cy="3760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5DA9CE48-04A4-11CE-FB8C-AF5545437D59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7820025" y="1463674"/>
            <a:ext cx="0" cy="3760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A3C0773C-EE37-3912-35DA-291527E05ACE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8047038" y="1463674"/>
            <a:ext cx="0" cy="3760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6BFC4E47-3CA0-A058-CC5D-AE1B60D0838D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8274050" y="1463674"/>
            <a:ext cx="0" cy="3760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E4AB3D7D-1FD4-5B2B-F764-7C5DE94121F6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5095875" y="1463674"/>
            <a:ext cx="0" cy="3760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D49C1D8-62E9-466C-ADF9-91C93E88D335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5322888" y="1463674"/>
            <a:ext cx="0" cy="3760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FD4AE3E5-875B-37F0-F41F-AB28335A14A9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5776913" y="1463674"/>
            <a:ext cx="0" cy="3760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23888E5E-60EE-3EB3-CD0B-8FB63295ECBC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6003925" y="1463674"/>
            <a:ext cx="0" cy="3760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6BDA825-84B2-05B2-A865-51600CA588AF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449263" y="3143250"/>
            <a:ext cx="112268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E0A1ABA5-C726-9F27-B335-86B0E6CA55D1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449263" y="5224463"/>
            <a:ext cx="11226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A2DB239B-2A82-CB55-7292-839456686BC9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6731000" y="1463674"/>
            <a:ext cx="0" cy="3930650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9BBFE92C-BFA3-6287-444D-D2C5E580985B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449263" y="1463675"/>
            <a:ext cx="11226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8" name="Rectangle 177">
            <a:extLst>
              <a:ext uri="{FF2B5EF4-FFF2-40B4-BE49-F238E27FC236}">
                <a16:creationId xmlns:a16="http://schemas.microsoft.com/office/drawing/2014/main" id="{26BD8D79-6DB5-EE20-69CD-7D70AD5215D0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5368925" y="2578100"/>
            <a:ext cx="1316038" cy="98425"/>
          </a:xfrm>
          <a:prstGeom prst="rect">
            <a:avLst/>
          </a:prstGeom>
          <a:solidFill>
            <a:schemeClr val="tx2"/>
          </a:solidFill>
          <a:ln w="19050" cap="flat" cmpd="sng" algn="ctr">
            <a:noFill/>
            <a:prstDash val="dash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2"/>
                </a:solidFill>
                <a:prstDash val="dash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144DD846-37D9-57D2-52AB-C074D5D9BA67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4868863" y="1924050"/>
            <a:ext cx="1362075" cy="98425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0CB065C7-FEAC-F8FA-A062-C3F7448FEB4D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6911975" y="3605213"/>
            <a:ext cx="227013" cy="98425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8" name="Rectangle 277">
            <a:extLst>
              <a:ext uri="{FF2B5EF4-FFF2-40B4-BE49-F238E27FC236}">
                <a16:creationId xmlns:a16="http://schemas.microsoft.com/office/drawing/2014/main" id="{20C9C047-6FF7-04F5-4DEF-EB79811223AC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7185025" y="3932238"/>
            <a:ext cx="407988" cy="98425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B89D09E3-4A13-A905-8E6F-F6F65EB41429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4868863" y="2251075"/>
            <a:ext cx="1135063" cy="98425"/>
          </a:xfrm>
          <a:prstGeom prst="rect">
            <a:avLst/>
          </a:prstGeom>
          <a:solidFill>
            <a:schemeClr val="tx2"/>
          </a:solidFill>
          <a:ln w="19050" cap="flat" cmpd="sng" algn="ctr">
            <a:noFill/>
            <a:prstDash val="dash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2"/>
                </a:solidFill>
                <a:prstDash val="dash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FDB91B48-F3B5-71FC-AA8C-AEBDDBEA25B6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6230937" y="2905125"/>
            <a:ext cx="681038" cy="98425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7" name="Rectangle 286">
            <a:extLst>
              <a:ext uri="{FF2B5EF4-FFF2-40B4-BE49-F238E27FC236}">
                <a16:creationId xmlns:a16="http://schemas.microsoft.com/office/drawing/2014/main" id="{570E5F63-9F90-C1FA-FC8D-5AB138C07D88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7593013" y="4259263"/>
            <a:ext cx="908050" cy="98425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5" name="Rectangle 294">
            <a:extLst>
              <a:ext uri="{FF2B5EF4-FFF2-40B4-BE49-F238E27FC236}">
                <a16:creationId xmlns:a16="http://schemas.microsoft.com/office/drawing/2014/main" id="{EB2727B4-AF10-833A-9590-2CFD923C305E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7820025" y="4586288"/>
            <a:ext cx="681038" cy="98425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6" name="Diamond 215">
            <a:extLst>
              <a:ext uri="{FF2B5EF4-FFF2-40B4-BE49-F238E27FC236}">
                <a16:creationId xmlns:a16="http://schemas.microsoft.com/office/drawing/2014/main" id="{09BA759F-AB08-660B-4BEE-67344DA4999B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6854825" y="2897188"/>
            <a:ext cx="114300" cy="114300"/>
          </a:xfrm>
          <a:prstGeom prst="diamond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Isosceles Triangle 41">
            <a:extLst>
              <a:ext uri="{FF2B5EF4-FFF2-40B4-BE49-F238E27FC236}">
                <a16:creationId xmlns:a16="http://schemas.microsoft.com/office/drawing/2014/main" id="{3793D627-A589-D682-0A7C-2DFDB162C7B3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6673850" y="533717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4" name="Diamond 253">
            <a:extLst>
              <a:ext uri="{FF2B5EF4-FFF2-40B4-BE49-F238E27FC236}">
                <a16:creationId xmlns:a16="http://schemas.microsoft.com/office/drawing/2014/main" id="{177BD82E-2B50-9C30-15C3-4E6AD7114AF0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8397875" y="4905375"/>
            <a:ext cx="114300" cy="114300"/>
          </a:xfrm>
          <a:prstGeom prst="diamond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1" name="Text Placeholder 2">
            <a:extLst>
              <a:ext uri="{FF2B5EF4-FFF2-40B4-BE49-F238E27FC236}">
                <a16:creationId xmlns:a16="http://schemas.microsoft.com/office/drawing/2014/main" id="{C2A2E4BD-A4B1-61ED-6413-B85042479623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20700" y="4521200"/>
            <a:ext cx="200977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cs typeface="+mn-cs"/>
              </a:rPr>
              <a:t>Output validation/iteration</a:t>
            </a:r>
            <a:endParaRPr lang="en-US" sz="1400" dirty="0">
              <a:cs typeface="+mn-cs"/>
            </a:endParaRPr>
          </a:p>
        </p:txBody>
      </p:sp>
      <p:sp>
        <p:nvSpPr>
          <p:cNvPr id="324" name="Text Placeholder 2">
            <a:extLst>
              <a:ext uri="{FF2B5EF4-FFF2-40B4-BE49-F238E27FC236}">
                <a16:creationId xmlns:a16="http://schemas.microsoft.com/office/drawing/2014/main" id="{00323595-5EA4-109A-46EA-8733EC05526E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8572500" y="4521200"/>
            <a:ext cx="30321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>
                <a:cs typeface="+mn-cs"/>
              </a:rPr>
              <a:t>Core working group, Steering group, External partners</a:t>
            </a:r>
            <a:endParaRPr lang="en-US" sz="1000" dirty="0">
              <a:cs typeface="+mn-cs"/>
            </a:endParaRPr>
          </a:p>
        </p:txBody>
      </p:sp>
      <p:sp useBgFill="1">
        <p:nvSpPr>
          <p:cNvPr id="252" name="Text Placeholder 2">
            <a:extLst>
              <a:ext uri="{FF2B5EF4-FFF2-40B4-BE49-F238E27FC236}">
                <a16:creationId xmlns:a16="http://schemas.microsoft.com/office/drawing/2014/main" id="{359EEA8D-B962-EDB4-C23A-CAD1001C8058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8245475" y="5041900"/>
            <a:ext cx="419100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7512EDA-DDAC-4808-B195-5490C740B835}" type="datetime'''''''''''''''''''''2''''''8''''''''''.''''6.''''''2''4'''">
              <a:rPr lang="en-US" altLang="en-US" sz="1000" b="1" smtClean="0">
                <a:effectLst/>
                <a:cs typeface="+mn-cs"/>
              </a:rPr>
              <a:pPr/>
              <a:t>28.6.24</a:t>
            </a:fld>
            <a:endParaRPr lang="en-US" sz="1000" b="1" dirty="0">
              <a:cs typeface="+mn-cs"/>
            </a:endParaRPr>
          </a:p>
        </p:txBody>
      </p:sp>
      <p:sp useBgFill="1">
        <p:nvSpPr>
          <p:cNvPr id="285" name="Text Placeholder 2">
            <a:extLst>
              <a:ext uri="{FF2B5EF4-FFF2-40B4-BE49-F238E27FC236}">
                <a16:creationId xmlns:a16="http://schemas.microsoft.com/office/drawing/2014/main" id="{5949E3F1-0702-7E3F-83E6-F184555AC61E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7607300" y="4375150"/>
            <a:ext cx="881063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B9FBDA8-26F8-4D42-ABE7-9E50262375B3}" type="datetime'''''3''.''''''''''''''6''''''''''.''''2''''''4'''''''''''''''">
              <a:rPr lang="en-US" altLang="en-US" sz="1000" smtClean="0">
                <a:effectLst/>
                <a:cs typeface="+mn-cs"/>
              </a:rPr>
              <a:pPr/>
              <a:t>3.6.24</a:t>
            </a:fld>
            <a:r>
              <a:rPr lang="en-US" altLang="en-US" sz="1000">
                <a:effectLst/>
                <a:cs typeface="+mn-cs"/>
              </a:rPr>
              <a:t> - </a:t>
            </a:r>
            <a:fld id="{D0699FB0-2C4B-4CBF-8F0A-761BF985F4F4}" type="datetime'''''2''''''''''''''8''''.''6.''''''''24'''''''">
              <a:rPr lang="en-US" altLang="en-US" sz="1000" smtClean="0">
                <a:effectLst/>
                <a:cs typeface="+mn-cs"/>
              </a:rPr>
              <a:pPr/>
              <a:t>28.6.24</a:t>
            </a:fld>
            <a:endParaRPr lang="en-US" sz="1000" dirty="0">
              <a:cs typeface="+mn-cs"/>
            </a:endParaRPr>
          </a:p>
        </p:txBody>
      </p:sp>
      <p:sp>
        <p:nvSpPr>
          <p:cNvPr id="306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8572500" y="1204913"/>
            <a:ext cx="10525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3DAD329-661A-445F-B058-CD770DF3D13E}" type="datetime'R''e''s''''p''o''''''''n''s''''''ib''l''''''''e'''''''">
              <a:rPr lang="en-US" altLang="en-US" sz="1400" b="1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Responsible</a:t>
            </a:fld>
            <a:endParaRPr lang="en-US" sz="1400" b="1" dirty="0">
              <a:cs typeface="+mn-cs"/>
            </a:endParaRPr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D5D304D6-17F0-56D4-1B5B-28D999BF3E5F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520700" y="1858963"/>
            <a:ext cx="42767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cs typeface="+mn-cs"/>
              </a:rPr>
              <a:t>Defining and validating</a:t>
            </a:r>
            <a:r>
              <a:rPr lang="en-US" altLang="en-US" sz="1400" dirty="0">
                <a:effectLst/>
                <a:cs typeface="+mn-cs"/>
              </a:rPr>
              <a:t> assumptions with internal team</a:t>
            </a:r>
          </a:p>
        </p:txBody>
      </p:sp>
      <p:sp>
        <p:nvSpPr>
          <p:cNvPr id="311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8572500" y="1858963"/>
            <a:ext cx="11033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>
                <a:effectLst/>
                <a:cs typeface="+mn-cs"/>
              </a:rPr>
              <a:t>Core working group</a:t>
            </a:r>
            <a:endParaRPr lang="en-US" sz="1000" dirty="0">
              <a:cs typeface="+mn-cs"/>
            </a:endParaRPr>
          </a:p>
        </p:txBody>
      </p:sp>
      <p:sp useBgFill="1">
        <p:nvSpPr>
          <p:cNvPr id="202" name="Text Placeholder 2">
            <a:extLst>
              <a:ext uri="{FF2B5EF4-FFF2-40B4-BE49-F238E27FC236}">
                <a16:creationId xmlns:a16="http://schemas.microsoft.com/office/drawing/2014/main" id="{C48C3328-28DA-D200-49C3-70E1517FE567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4960938" y="2366963"/>
            <a:ext cx="950913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A0635873-7E51-41C2-B61A-6838DCAD1797}" type="datetime'1''1''.''''3''''''''''''''''''''''''.''''2''''4'''''''''''">
              <a:rPr lang="en-US" altLang="en-US" sz="1000" smtClean="0">
                <a:effectLst/>
                <a:cs typeface="+mn-cs"/>
              </a:rPr>
              <a:pPr/>
              <a:t>11.3.24</a:t>
            </a:fld>
            <a:r>
              <a:rPr lang="en-US" altLang="en-US" sz="1000" dirty="0">
                <a:effectLst/>
                <a:cs typeface="+mn-cs"/>
              </a:rPr>
              <a:t> </a:t>
            </a:r>
            <a:r>
              <a:rPr lang="en-US" altLang="en-US" sz="1000">
                <a:effectLst/>
                <a:cs typeface="+mn-cs"/>
              </a:rPr>
              <a:t>- </a:t>
            </a:r>
            <a:fld id="{F232EAB8-8750-4E7B-9CE1-426319173887}" type="datetime'''12''''''''''''''''''''''''''''.4''.''''''''''''2''''''''4'">
              <a:rPr lang="en-US" altLang="en-US" sz="1000" smtClean="0">
                <a:effectLst/>
                <a:cs typeface="+mn-cs"/>
              </a:rPr>
              <a:pPr/>
              <a:t>12.4.24</a:t>
            </a:fld>
            <a:endParaRPr lang="en-US" sz="1000" dirty="0">
              <a:cs typeface="+mn-cs"/>
            </a:endParaRPr>
          </a:p>
        </p:txBody>
      </p: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ABF6F407-BBE1-4F07-BA5D-2CB027C1C3E3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520700" y="2185988"/>
            <a:ext cx="109378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cs typeface="+mn-cs"/>
              </a:rPr>
              <a:t>Data sourcing</a:t>
            </a:r>
            <a:endParaRPr lang="en-US" altLang="en-US" sz="1400" dirty="0">
              <a:effectLst/>
              <a:cs typeface="+mn-cs"/>
            </a:endParaRPr>
          </a:p>
        </p:txBody>
      </p:sp>
      <p:sp>
        <p:nvSpPr>
          <p:cNvPr id="313" name="Text Placeholder 2">
            <a:extLst>
              <a:ext uri="{FF2B5EF4-FFF2-40B4-BE49-F238E27FC236}">
                <a16:creationId xmlns:a16="http://schemas.microsoft.com/office/drawing/2014/main" id="{0702533A-0A04-15F5-9DFB-03B4D7B53B4E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8572499" y="2185988"/>
            <a:ext cx="2135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>
                <a:cs typeface="+mn-cs"/>
              </a:rPr>
              <a:t>Core working group, External partners</a:t>
            </a:r>
            <a:endParaRPr lang="en-US" sz="1000" dirty="0">
              <a:cs typeface="+mn-cs"/>
            </a:endParaRPr>
          </a:p>
        </p:txBody>
      </p:sp>
      <p:sp useBgFill="1">
        <p:nvSpPr>
          <p:cNvPr id="191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5586413" y="2693988"/>
            <a:ext cx="881063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EB10A583-B376-4ADA-9BC0-1ECF911381B2}" type="datetime'2''''6.3''''''''''''''.2''''''4'''''">
              <a:rPr lang="en-US" altLang="en-US" sz="1000" smtClean="0">
                <a:effectLst/>
                <a:cs typeface="+mn-cs"/>
              </a:rPr>
              <a:pPr/>
              <a:t>26.3.24</a:t>
            </a:fld>
            <a:r>
              <a:rPr lang="en-US" altLang="en-US" sz="1000">
                <a:effectLst/>
                <a:cs typeface="+mn-cs"/>
              </a:rPr>
              <a:t> </a:t>
            </a:r>
            <a:r>
              <a:rPr lang="en-US" altLang="en-US" sz="1000" dirty="0">
                <a:effectLst/>
                <a:cs typeface="+mn-cs"/>
              </a:rPr>
              <a:t>- </a:t>
            </a:r>
            <a:fld id="{28779445-078B-47A2-BBE4-91507038DA74}" type="datetime'''''3''''''.''5''''''''.''''''2''''''''''4'''''">
              <a:rPr lang="en-US" altLang="en-US" sz="10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3.5.24</a:t>
            </a:fld>
            <a:endParaRPr lang="en-US" sz="1000" dirty="0">
              <a:cs typeface="+mn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520700" y="2513013"/>
            <a:ext cx="38433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cs typeface="+mn-cs"/>
              </a:rPr>
              <a:t>A</a:t>
            </a:r>
            <a:r>
              <a:rPr lang="en-US" altLang="en-US" sz="1400" dirty="0">
                <a:effectLst/>
                <a:cs typeface="+mn-cs"/>
              </a:rPr>
              <a:t>ssumptions consultations with external partners</a:t>
            </a:r>
          </a:p>
        </p:txBody>
      </p:sp>
      <p:sp>
        <p:nvSpPr>
          <p:cNvPr id="318" name="Text Placeholder 2">
            <a:extLst>
              <a:ext uri="{FF2B5EF4-FFF2-40B4-BE49-F238E27FC236}">
                <a16:creationId xmlns:a16="http://schemas.microsoft.com/office/drawing/2014/main" id="{AE8ED39A-71C0-A1E0-639B-BC313186A6AC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8572500" y="2513013"/>
            <a:ext cx="2135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>
                <a:cs typeface="+mn-cs"/>
              </a:rPr>
              <a:t>Core working group, External partners</a:t>
            </a:r>
            <a:endParaRPr lang="en-US" sz="1000" dirty="0">
              <a:cs typeface="+mn-cs"/>
            </a:endParaRPr>
          </a:p>
        </p:txBody>
      </p:sp>
      <p:sp useBgFill="1">
        <p:nvSpPr>
          <p:cNvPr id="219" name="Text Placeholder 2">
            <a:extLst>
              <a:ext uri="{FF2B5EF4-FFF2-40B4-BE49-F238E27FC236}">
                <a16:creationId xmlns:a16="http://schemas.microsoft.com/office/drawing/2014/main" id="{E04B02D3-886C-4732-5A58-264D9A623EFC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5899150" y="3033713"/>
            <a:ext cx="950913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8AE2D98-5412-471B-B79C-8D0880DEBD74}" type="datetime'''''2''2''''''.''''''''''''''''4''''''''''.''''''''''''2''4'''">
              <a:rPr lang="en-US" altLang="en-US" sz="1000" smtClean="0">
                <a:effectLst/>
                <a:cs typeface="+mn-cs"/>
              </a:rPr>
              <a:pPr/>
              <a:t>22.4.24</a:t>
            </a:fld>
            <a:r>
              <a:rPr lang="en-US" altLang="en-US" sz="1000">
                <a:effectLst/>
                <a:cs typeface="+mn-cs"/>
              </a:rPr>
              <a:t> - </a:t>
            </a:r>
            <a:fld id="{6182BF02-603F-4113-9DA2-BB6C74B2ECA1}" type="datetime'''1''3.5''.''''''2''''''''''''''''''''''''''''''4'''">
              <a:rPr lang="en-US" altLang="en-US" sz="1000" smtClean="0">
                <a:effectLst/>
                <a:cs typeface="+mn-cs"/>
              </a:rPr>
              <a:pPr/>
              <a:t>13.5.24</a:t>
            </a:fld>
            <a:endParaRPr lang="en-US" sz="1000" dirty="0">
              <a:cs typeface="+mn-cs"/>
            </a:endParaRPr>
          </a:p>
        </p:txBody>
      </p:sp>
      <p:sp useBgFill="1">
        <p:nvSpPr>
          <p:cNvPr id="214" name="Text Placeholder 2">
            <a:extLst>
              <a:ext uri="{FF2B5EF4-FFF2-40B4-BE49-F238E27FC236}">
                <a16:creationId xmlns:a16="http://schemas.microsoft.com/office/drawing/2014/main" id="{3BC6C456-CFA0-261C-CFDC-2AEDACF5F2B2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6900863" y="3033713"/>
            <a:ext cx="419100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4CE7A95-0144-421A-B0F2-BB45A98D19A8}" type="datetime'''''13''.''''5''''''''''.2''''''''''''''''4'''''''''''">
              <a:rPr lang="en-US" altLang="en-US" sz="1000" b="1" smtClean="0">
                <a:cs typeface="+mn-cs"/>
              </a:rPr>
              <a:pPr/>
              <a:t>13.5.24</a:t>
            </a:fld>
            <a:endParaRPr lang="en-US" sz="1000" b="1" dirty="0">
              <a:cs typeface="+mn-cs"/>
            </a:endParaRPr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54641A36-22F7-0F79-0F17-929842F2957F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520701" y="2840038"/>
            <a:ext cx="263207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cs typeface="+mn-cs"/>
              </a:rPr>
              <a:t>Output finalisation: Excel forecast</a:t>
            </a:r>
            <a:endParaRPr lang="en-US" altLang="en-US" sz="1400" dirty="0">
              <a:effectLst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520700" y="3213100"/>
            <a:ext cx="23066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 dirty="0">
                <a:effectLst/>
                <a:cs typeface="+mn-cs"/>
              </a:rPr>
              <a:t>Strategic Demand Scenario</a:t>
            </a:r>
            <a:endParaRPr lang="en-US" sz="1400" b="1" dirty="0">
              <a:cs typeface="+mn-cs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520700" y="3540125"/>
            <a:ext cx="25130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effectLst/>
                <a:cs typeface="+mn-cs"/>
              </a:rPr>
              <a:t>Scenarios/Parameters definition</a:t>
            </a:r>
            <a:endParaRPr lang="en-US" sz="1400" dirty="0">
              <a:cs typeface="+mn-cs"/>
            </a:endParaRPr>
          </a:p>
        </p:txBody>
      </p:sp>
      <p:sp>
        <p:nvSpPr>
          <p:cNvPr id="320" name="Text Placeholder 2">
            <a:extLst>
              <a:ext uri="{FF2B5EF4-FFF2-40B4-BE49-F238E27FC236}">
                <a16:creationId xmlns:a16="http://schemas.microsoft.com/office/drawing/2014/main" id="{A797B420-C1B1-1C17-F9B0-0558E2B73833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8572500" y="3540125"/>
            <a:ext cx="2135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>
                <a:cs typeface="+mn-cs"/>
              </a:rPr>
              <a:t>Core working group, External partners</a:t>
            </a:r>
            <a:endParaRPr lang="en-US" sz="1000" dirty="0">
              <a:cs typeface="+mn-cs"/>
            </a:endParaRPr>
          </a:p>
        </p:txBody>
      </p:sp>
      <p:sp useBgFill="1">
        <p:nvSpPr>
          <p:cNvPr id="276" name="Text Placeholder 2">
            <a:extLst>
              <a:ext uri="{FF2B5EF4-FFF2-40B4-BE49-F238E27FC236}">
                <a16:creationId xmlns:a16="http://schemas.microsoft.com/office/drawing/2014/main" id="{45569FBD-C519-739E-05FA-2C7F01B31765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6913563" y="4048125"/>
            <a:ext cx="950913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92AB894D-21DA-47EF-8FEE-4866840B9FFD}" type="datetime'21''''''''''''.''''''5''''.2''''''''''''''''''''''4'''''''''">
              <a:rPr lang="en-US" altLang="en-US" sz="1000" smtClean="0">
                <a:effectLst/>
                <a:cs typeface="+mn-cs"/>
              </a:rPr>
              <a:pPr/>
              <a:t>21.5.24</a:t>
            </a:fld>
            <a:r>
              <a:rPr lang="en-US" altLang="en-US" sz="1000">
                <a:effectLst/>
                <a:cs typeface="+mn-cs"/>
              </a:rPr>
              <a:t> - </a:t>
            </a:r>
            <a:fld id="{F3D36F8B-8985-4D41-82ED-5E8AE8E7D5DA}" type="datetime'''''''''''''31''.''''''''''''''''5''.''''''''2''''4'''''''">
              <a:rPr lang="en-US" altLang="en-US" sz="1000" smtClean="0">
                <a:effectLst/>
                <a:cs typeface="+mn-cs"/>
              </a:rPr>
              <a:pPr/>
              <a:t>31.5.24</a:t>
            </a:fld>
            <a:endParaRPr lang="en-US" sz="1000" dirty="0">
              <a:cs typeface="+mn-cs"/>
            </a:endParaRPr>
          </a:p>
        </p:txBody>
      </p:sp>
      <p:sp>
        <p:nvSpPr>
          <p:cNvPr id="274" name="Text Placeholder 2">
            <a:extLst>
              <a:ext uri="{FF2B5EF4-FFF2-40B4-BE49-F238E27FC236}">
                <a16:creationId xmlns:a16="http://schemas.microsoft.com/office/drawing/2014/main" id="{7C2CF1A7-9392-FC21-2DB4-84DED1074EB8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520700" y="3867150"/>
            <a:ext cx="14906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cs typeface="+mn-cs"/>
              </a:rPr>
              <a:t>Sensitivity analysis</a:t>
            </a:r>
            <a:endParaRPr lang="en-US" sz="1400" dirty="0">
              <a:cs typeface="+mn-cs"/>
            </a:endParaRPr>
          </a:p>
        </p:txBody>
      </p:sp>
      <p:sp>
        <p:nvSpPr>
          <p:cNvPr id="322" name="Text Placeholder 2">
            <a:extLst>
              <a:ext uri="{FF2B5EF4-FFF2-40B4-BE49-F238E27FC236}">
                <a16:creationId xmlns:a16="http://schemas.microsoft.com/office/drawing/2014/main" id="{A7E49938-D481-E536-29F4-86CFC214EA8D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8572500" y="3867150"/>
            <a:ext cx="2135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>
                <a:cs typeface="+mn-cs"/>
              </a:rPr>
              <a:t>Core working group, External partners</a:t>
            </a:r>
            <a:endParaRPr lang="en-US" sz="1000" dirty="0">
              <a:cs typeface="+mn-cs"/>
            </a:endParaRPr>
          </a:p>
        </p:txBody>
      </p:sp>
      <p:sp useBgFill="1">
        <p:nvSpPr>
          <p:cNvPr id="244" name="Text Placeholder 2">
            <a:extLst>
              <a:ext uri="{FF2B5EF4-FFF2-40B4-BE49-F238E27FC236}">
                <a16:creationId xmlns:a16="http://schemas.microsoft.com/office/drawing/2014/main" id="{AE1C4440-B573-BFDB-76BB-A9A1B1A46EC3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6550025" y="3721100"/>
            <a:ext cx="950913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E36E64D-F707-4DF9-97E5-CA6603BF6106}" type="datetime'''''''''1''''''3.5''''''''.''''''''''''''''2''4'">
              <a:rPr lang="en-US" altLang="en-US" sz="1000" smtClean="0">
                <a:effectLst/>
                <a:cs typeface="+mn-cs"/>
              </a:rPr>
              <a:pPr/>
              <a:t>13.5.24</a:t>
            </a:fld>
            <a:r>
              <a:rPr lang="en-US" altLang="en-US" sz="1000">
                <a:effectLst/>
                <a:cs typeface="+mn-cs"/>
              </a:rPr>
              <a:t> - </a:t>
            </a:r>
            <a:fld id="{91BD060E-B400-4365-9DDB-607D345A40B1}" type="datetime'1''''''''''7''''.''''''''''''''5.''''''''''''''''''24'''''">
              <a:rPr lang="en-US" altLang="en-US" sz="1000" smtClean="0">
                <a:effectLst/>
                <a:cs typeface="+mn-cs"/>
              </a:rPr>
              <a:pPr/>
              <a:t>17.5.24</a:t>
            </a:fld>
            <a:endParaRPr lang="en-US" sz="1000" dirty="0">
              <a:cs typeface="+mn-cs"/>
            </a:endParaRPr>
          </a:p>
        </p:txBody>
      </p:sp>
      <p:sp useBgFill="1">
        <p:nvSpPr>
          <p:cNvPr id="188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5075238" y="2039938"/>
            <a:ext cx="950913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085BF694-16B1-4BEA-AD59-9B85CF5D33BF}" type="datetime'''''1''1.''''''''3.''2''4'''''''''''''">
              <a:rPr lang="en-US" altLang="en-US" sz="10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11.3.24</a:t>
            </a:fld>
            <a:r>
              <a:rPr lang="en-US" altLang="en-US" sz="1000" dirty="0">
                <a:effectLst/>
                <a:cs typeface="+mn-cs"/>
              </a:rPr>
              <a:t> - </a:t>
            </a:r>
            <a:fld id="{F1F19A3F-7074-4149-B12B-7FB40A2A3FC4}" type="datetime'''''''''''''''1''''''''''9.''4.''''2''4'''''''''''''''''''''">
              <a:rPr lang="en-US" altLang="en-US" sz="1000" smtClean="0">
                <a:effectLst/>
                <a:cs typeface="+mn-cs"/>
              </a:rPr>
              <a:pPr lvl="0">
                <a:spcBef>
                  <a:spcPct val="0"/>
                </a:spcBef>
                <a:spcAft>
                  <a:spcPct val="0"/>
                </a:spcAft>
              </a:pPr>
              <a:t>19.4.24</a:t>
            </a:fld>
            <a:endParaRPr lang="en-US" sz="1000" dirty="0">
              <a:cs typeface="+mn-cs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6484939" y="5473700"/>
            <a:ext cx="4921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EB83565-8097-45F4-AFFB-EF184B89A803}" type="datetime'''7''''.''''''''''''5''''''''''''.''24'''''">
              <a:rPr lang="en-US" altLang="en-US" sz="1400" smtClean="0">
                <a:cs typeface="+mn-cs"/>
              </a:rPr>
              <a:pPr/>
              <a:t>7.5.24</a:t>
            </a:fld>
            <a:endParaRPr lang="en-US" sz="1400" dirty="0">
              <a:cs typeface="+mn-cs"/>
            </a:endParaRPr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58843A33-1B45-4CCB-F872-D1320AA49347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520700" y="4194175"/>
            <a:ext cx="188277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cs typeface="+mn-cs"/>
              </a:rPr>
              <a:t>Slide deck development</a:t>
            </a:r>
            <a:endParaRPr lang="en-US" sz="1400" dirty="0">
              <a:cs typeface="+mn-cs"/>
            </a:endParaRPr>
          </a:p>
        </p:txBody>
      </p:sp>
      <p:sp useBgFill="1">
        <p:nvSpPr>
          <p:cNvPr id="293" name="Text Placeholder 2">
            <a:extLst>
              <a:ext uri="{FF2B5EF4-FFF2-40B4-BE49-F238E27FC236}">
                <a16:creationId xmlns:a16="http://schemas.microsoft.com/office/drawing/2014/main" id="{3A481B4C-B185-8312-3F4C-CDC3FB6185D9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7685088" y="4702175"/>
            <a:ext cx="950913" cy="1682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F3577E68-EC79-4F60-9A51-34425DF124CA}" type="datetime'1''0''.''''''''''''6''.''''''''''''''''''''''''''''2''''''4'''">
              <a:rPr lang="en-US" altLang="en-US" sz="1000" smtClean="0">
                <a:effectLst/>
                <a:cs typeface="+mn-cs"/>
              </a:rPr>
              <a:pPr/>
              <a:t>10.6.24</a:t>
            </a:fld>
            <a:r>
              <a:rPr lang="en-US" altLang="en-US" sz="1000">
                <a:effectLst/>
                <a:cs typeface="+mn-cs"/>
              </a:rPr>
              <a:t> - </a:t>
            </a:r>
            <a:fld id="{82FE372A-9FF8-4619-95CF-F0856AD6FC8D}" type="datetime'''''''''''''2''8''.6''.''''2''''''''''''''''''''''''''''''4'''">
              <a:rPr lang="en-US" altLang="en-US" sz="1000" smtClean="0">
                <a:effectLst/>
                <a:cs typeface="+mn-cs"/>
              </a:rPr>
              <a:pPr/>
              <a:t>28.6.24</a:t>
            </a:fld>
            <a:endParaRPr lang="en-US" sz="1000" dirty="0">
              <a:cs typeface="+mn-cs"/>
            </a:endParaRPr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68B13A6A-D79A-040B-C42F-10F883F41189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520700" y="1531938"/>
            <a:ext cx="116205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 dirty="0">
                <a:cs typeface="+mn-cs"/>
              </a:rPr>
              <a:t>Base forecast</a:t>
            </a:r>
            <a:endParaRPr lang="en-US" altLang="en-US" sz="1400" b="1" dirty="0">
              <a:effectLst/>
              <a:cs typeface="+mn-cs"/>
            </a:endParaRPr>
          </a:p>
        </p:txBody>
      </p:sp>
      <p:sp>
        <p:nvSpPr>
          <p:cNvPr id="331" name="Text Placeholder 2">
            <a:extLst>
              <a:ext uri="{FF2B5EF4-FFF2-40B4-BE49-F238E27FC236}">
                <a16:creationId xmlns:a16="http://schemas.microsoft.com/office/drawing/2014/main" id="{01153646-E0DE-40DB-7939-93E8D7596B1C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520700" y="4848225"/>
            <a:ext cx="38354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cs typeface="+mn-cs"/>
              </a:rPr>
              <a:t>Output finalisation: Excel forecast with slide deck</a:t>
            </a:r>
            <a:endParaRPr lang="en-US" sz="1400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44161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25174-BA22-240E-FA40-D5D0828B7C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/>
              <a:t>Modelling approach</a:t>
            </a:r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8B0A6F4-8CAC-F288-223C-65B7B7EF065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l-PL" dirty="0"/>
              <a:t>2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214A19-3D1C-428E-BB3F-2C28471BD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7328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EC210690-D96E-0464-0D1A-3210340831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210690-D96E-0464-0D1A-3210340831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>
            <a:extLst>
              <a:ext uri="{FF2B5EF4-FFF2-40B4-BE49-F238E27FC236}">
                <a16:creationId xmlns:a16="http://schemas.microsoft.com/office/drawing/2014/main" id="{E2E85709-B506-D83A-F6A5-08EA13F3A701}"/>
              </a:ext>
            </a:extLst>
          </p:cNvPr>
          <p:cNvSpPr/>
          <p:nvPr/>
        </p:nvSpPr>
        <p:spPr>
          <a:xfrm>
            <a:off x="138222" y="2824086"/>
            <a:ext cx="12096000" cy="17662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1E3156-D73A-3796-5F36-E47D078E79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pl-PL"/>
              <a:t>Demand forecast approach - a country level</a:t>
            </a:r>
            <a:endParaRPr lang="en-US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435A1604-BE59-038D-6F01-D99E1D40D488}"/>
              </a:ext>
            </a:extLst>
          </p:cNvPr>
          <p:cNvGrpSpPr/>
          <p:nvPr/>
        </p:nvGrpSpPr>
        <p:grpSpPr>
          <a:xfrm>
            <a:off x="777567" y="3829376"/>
            <a:ext cx="8834667" cy="491020"/>
            <a:chOff x="777567" y="1635445"/>
            <a:chExt cx="8834667" cy="491020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55C01367-C037-3E24-CF03-81402DCCF761}"/>
                </a:ext>
              </a:extLst>
            </p:cNvPr>
            <p:cNvSpPr/>
            <p:nvPr/>
          </p:nvSpPr>
          <p:spPr>
            <a:xfrm>
              <a:off x="3191430" y="1635445"/>
              <a:ext cx="1080000" cy="468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PEP Population</a:t>
              </a: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191D30DD-F003-E5B0-D921-D37FDDE665BA}"/>
                </a:ext>
              </a:extLst>
            </p:cNvPr>
            <p:cNvSpPr/>
            <p:nvPr/>
          </p:nvSpPr>
          <p:spPr>
            <a:xfrm>
              <a:off x="4508120" y="1635445"/>
              <a:ext cx="1080000" cy="468000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No. of doses </a:t>
              </a: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9AD87E3A-20FB-BAE5-4BCE-9E9E4719379C}"/>
                </a:ext>
              </a:extLst>
            </p:cNvPr>
            <p:cNvSpPr/>
            <p:nvPr/>
          </p:nvSpPr>
          <p:spPr>
            <a:xfrm>
              <a:off x="5824810" y="1635445"/>
              <a:ext cx="1080000" cy="468000"/>
            </a:xfrm>
            <a:prstGeom prst="roundRect">
              <a:avLst/>
            </a:prstGeom>
            <a:solidFill>
              <a:schemeClr val="bg2">
                <a:lumMod val="40000"/>
                <a:lumOff val="60000"/>
              </a:schemeClr>
            </a:solidFill>
            <a:ln w="28575">
              <a:noFill/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latin typeface="Arial" panose="020B0604020202020204" pitchFamily="34" charset="0"/>
                  <a:cs typeface="Arial" panose="020B0604020202020204" pitchFamily="34" charset="0"/>
                </a:rPr>
                <a:t>Target “PEP rate”</a:t>
              </a:r>
              <a:endParaRPr lang="en-US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59602438-ECB3-8D82-FBEA-32D743804D62}"/>
                </a:ext>
              </a:extLst>
            </p:cNvPr>
            <p:cNvSpPr/>
            <p:nvPr/>
          </p:nvSpPr>
          <p:spPr>
            <a:xfrm>
              <a:off x="7215546" y="1635445"/>
              <a:ext cx="1080000" cy="4680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Vaccine wastage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7D4A4EFC-22BD-77EF-6E01-768913E2907F}"/>
                </a:ext>
              </a:extLst>
            </p:cNvPr>
            <p:cNvSpPr/>
            <p:nvPr/>
          </p:nvSpPr>
          <p:spPr>
            <a:xfrm>
              <a:off x="8532234" y="1635445"/>
              <a:ext cx="1080000" cy="4680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Buffer</a:t>
              </a:r>
            </a:p>
          </p:txBody>
        </p:sp>
        <p:sp>
          <p:nvSpPr>
            <p:cNvPr id="18" name="Multiplication Sign 17">
              <a:extLst>
                <a:ext uri="{FF2B5EF4-FFF2-40B4-BE49-F238E27FC236}">
                  <a16:creationId xmlns:a16="http://schemas.microsoft.com/office/drawing/2014/main" id="{FA7039CD-79C3-FE01-0005-E0125CBFA2CC}"/>
                </a:ext>
              </a:extLst>
            </p:cNvPr>
            <p:cNvSpPr/>
            <p:nvPr/>
          </p:nvSpPr>
          <p:spPr>
            <a:xfrm>
              <a:off x="4252012" y="1704146"/>
              <a:ext cx="286466" cy="308344"/>
            </a:xfrm>
            <a:prstGeom prst="mathMultiply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Multiplication Sign 18">
              <a:extLst>
                <a:ext uri="{FF2B5EF4-FFF2-40B4-BE49-F238E27FC236}">
                  <a16:creationId xmlns:a16="http://schemas.microsoft.com/office/drawing/2014/main" id="{F52777ED-D694-55E6-E14C-567CC1D57E1A}"/>
                </a:ext>
              </a:extLst>
            </p:cNvPr>
            <p:cNvSpPr/>
            <p:nvPr/>
          </p:nvSpPr>
          <p:spPr>
            <a:xfrm>
              <a:off x="5564636" y="1704146"/>
              <a:ext cx="286466" cy="308344"/>
            </a:xfrm>
            <a:prstGeom prst="mathMultiply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Multiplication Sign 19">
              <a:extLst>
                <a:ext uri="{FF2B5EF4-FFF2-40B4-BE49-F238E27FC236}">
                  <a16:creationId xmlns:a16="http://schemas.microsoft.com/office/drawing/2014/main" id="{DA908C7C-016B-8102-9058-AD4343E932C7}"/>
                </a:ext>
              </a:extLst>
            </p:cNvPr>
            <p:cNvSpPr/>
            <p:nvPr/>
          </p:nvSpPr>
          <p:spPr>
            <a:xfrm>
              <a:off x="6877260" y="1704146"/>
              <a:ext cx="286466" cy="308344"/>
            </a:xfrm>
            <a:prstGeom prst="mathMultiply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Plus Sign 22">
              <a:extLst>
                <a:ext uri="{FF2B5EF4-FFF2-40B4-BE49-F238E27FC236}">
                  <a16:creationId xmlns:a16="http://schemas.microsoft.com/office/drawing/2014/main" id="{9B5C8384-50B9-552C-EAE3-6FE18C5A77A7}"/>
                </a:ext>
              </a:extLst>
            </p:cNvPr>
            <p:cNvSpPr/>
            <p:nvPr/>
          </p:nvSpPr>
          <p:spPr>
            <a:xfrm>
              <a:off x="8259863" y="1704146"/>
              <a:ext cx="288000" cy="288000"/>
            </a:xfrm>
            <a:prstGeom prst="mathPlus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11787B27-FA71-0416-905D-89B24A8618E0}"/>
                </a:ext>
              </a:extLst>
            </p:cNvPr>
            <p:cNvSpPr/>
            <p:nvPr/>
          </p:nvSpPr>
          <p:spPr>
            <a:xfrm>
              <a:off x="777567" y="1658465"/>
              <a:ext cx="1234800" cy="468000"/>
            </a:xfrm>
            <a:prstGeom prst="round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Demand on a country level</a:t>
              </a:r>
            </a:p>
          </p:txBody>
        </p:sp>
        <p:sp>
          <p:nvSpPr>
            <p:cNvPr id="52" name="Equals 51">
              <a:extLst>
                <a:ext uri="{FF2B5EF4-FFF2-40B4-BE49-F238E27FC236}">
                  <a16:creationId xmlns:a16="http://schemas.microsoft.com/office/drawing/2014/main" id="{7FDA2363-7A05-AF10-1E32-58F01DDEC3EC}"/>
                </a:ext>
              </a:extLst>
            </p:cNvPr>
            <p:cNvSpPr/>
            <p:nvPr/>
          </p:nvSpPr>
          <p:spPr>
            <a:xfrm>
              <a:off x="2382636" y="1724240"/>
              <a:ext cx="351223" cy="292655"/>
            </a:xfrm>
            <a:prstGeom prst="mathEqual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982967FB-EAA8-7971-A217-CCBB38791617}"/>
              </a:ext>
            </a:extLst>
          </p:cNvPr>
          <p:cNvSpPr/>
          <p:nvPr/>
        </p:nvSpPr>
        <p:spPr>
          <a:xfrm>
            <a:off x="2582877" y="1318381"/>
            <a:ext cx="1764000" cy="468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emand on a global level in a given year</a:t>
            </a:r>
          </a:p>
        </p:txBody>
      </p:sp>
      <p:sp>
        <p:nvSpPr>
          <p:cNvPr id="5" name="Equals 4">
            <a:extLst>
              <a:ext uri="{FF2B5EF4-FFF2-40B4-BE49-F238E27FC236}">
                <a16:creationId xmlns:a16="http://schemas.microsoft.com/office/drawing/2014/main" id="{B87D8A17-1EE8-F5D6-C430-830C4BC368E0}"/>
              </a:ext>
            </a:extLst>
          </p:cNvPr>
          <p:cNvSpPr/>
          <p:nvPr/>
        </p:nvSpPr>
        <p:spPr>
          <a:xfrm>
            <a:off x="4796814" y="1385487"/>
            <a:ext cx="351223" cy="292655"/>
          </a:xfrm>
          <a:prstGeom prst="mathEqual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12B10265-0E34-5955-513E-11CE358B29EA}"/>
              </a:ext>
            </a:extLst>
          </p:cNvPr>
          <p:cNvSpPr/>
          <p:nvPr/>
        </p:nvSpPr>
        <p:spPr>
          <a:xfrm>
            <a:off x="6537897" y="1318381"/>
            <a:ext cx="1755504" cy="46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emand on a country level in a given year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EC10B88-764C-6DAF-12DE-03E7B6730CB9}"/>
              </a:ext>
            </a:extLst>
          </p:cNvPr>
          <p:cNvSpPr txBox="1">
            <a:spLocks/>
          </p:cNvSpPr>
          <p:nvPr/>
        </p:nvSpPr>
        <p:spPr>
          <a:xfrm>
            <a:off x="5310961" y="2028370"/>
            <a:ext cx="1303205" cy="498129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r>
              <a:rPr lang="en-US" sz="1000" b="1">
                <a:solidFill>
                  <a:schemeClr val="bg1">
                    <a:lumMod val="75000"/>
                  </a:schemeClr>
                </a:solidFill>
              </a:rPr>
              <a:t>Total demand for the countries that have introduced the vaccin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1BFC7CF-E832-8C1A-D4EE-098C473A894A}"/>
              </a:ext>
            </a:extLst>
          </p:cNvPr>
          <p:cNvSpPr txBox="1">
            <a:spLocks/>
          </p:cNvSpPr>
          <p:nvPr/>
        </p:nvSpPr>
        <p:spPr>
          <a:xfrm>
            <a:off x="5637507" y="1010679"/>
            <a:ext cx="668568" cy="1011119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00">
                <a:solidFill>
                  <a:schemeClr val="bg1">
                    <a:lumMod val="75000"/>
                  </a:schemeClr>
                </a:solidFill>
              </a:rPr>
              <a:t>Σ</a:t>
            </a:r>
          </a:p>
        </p:txBody>
      </p:sp>
      <p:graphicFrame>
        <p:nvGraphicFramePr>
          <p:cNvPr id="14" name="Table 4">
            <a:extLst>
              <a:ext uri="{FF2B5EF4-FFF2-40B4-BE49-F238E27FC236}">
                <a16:creationId xmlns:a16="http://schemas.microsoft.com/office/drawing/2014/main" id="{35633D5A-74A2-20EB-F2FE-8A07157ABB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1935326"/>
              </p:ext>
            </p:extLst>
          </p:nvPr>
        </p:nvGraphicFramePr>
        <p:xfrm>
          <a:off x="3082328" y="4736592"/>
          <a:ext cx="6640012" cy="15404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7476">
                  <a:extLst>
                    <a:ext uri="{9D8B030D-6E8A-4147-A177-3AD203B41FA5}">
                      <a16:colId xmlns:a16="http://schemas.microsoft.com/office/drawing/2014/main" val="2368534109"/>
                    </a:ext>
                  </a:extLst>
                </a:gridCol>
                <a:gridCol w="1328134">
                  <a:extLst>
                    <a:ext uri="{9D8B030D-6E8A-4147-A177-3AD203B41FA5}">
                      <a16:colId xmlns:a16="http://schemas.microsoft.com/office/drawing/2014/main" val="3471025748"/>
                    </a:ext>
                  </a:extLst>
                </a:gridCol>
                <a:gridCol w="1328134">
                  <a:extLst>
                    <a:ext uri="{9D8B030D-6E8A-4147-A177-3AD203B41FA5}">
                      <a16:colId xmlns:a16="http://schemas.microsoft.com/office/drawing/2014/main" val="3264747282"/>
                    </a:ext>
                  </a:extLst>
                </a:gridCol>
                <a:gridCol w="1328134">
                  <a:extLst>
                    <a:ext uri="{9D8B030D-6E8A-4147-A177-3AD203B41FA5}">
                      <a16:colId xmlns:a16="http://schemas.microsoft.com/office/drawing/2014/main" val="2925600374"/>
                    </a:ext>
                  </a:extLst>
                </a:gridCol>
                <a:gridCol w="1328134">
                  <a:extLst>
                    <a:ext uri="{9D8B030D-6E8A-4147-A177-3AD203B41FA5}">
                      <a16:colId xmlns:a16="http://schemas.microsoft.com/office/drawing/2014/main" val="2111539362"/>
                    </a:ext>
                  </a:extLst>
                </a:gridCol>
              </a:tblGrid>
              <a:tr h="1540497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Individuals bitten by dogs seeking PEP care</a:t>
                      </a:r>
                      <a:endParaRPr lang="en-GB" sz="1100" b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ly, accounting for projected pop. and dog bite rates</a:t>
                      </a:r>
                    </a:p>
                  </a:txBody>
                  <a:tcPr marL="108000" marR="108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doses for full vaccination</a:t>
                      </a:r>
                      <a:r>
                        <a:rPr lang="fr-CH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ID IPC </a:t>
                      </a:r>
                      <a:r>
                        <a:rPr lang="fr-CH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gimen</a:t>
                      </a:r>
                      <a:r>
                        <a:rPr lang="fr-CH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fr-CH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ly</a:t>
                      </a:r>
                      <a:r>
                        <a:rPr lang="fr-CH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, factoring dropout rate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sumed target </a:t>
                      </a:r>
                      <a:r>
                        <a:rPr lang="fr-CH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P rate, </a:t>
                      </a:r>
                      <a:r>
                        <a:rPr lang="fr-CH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ed</a:t>
                      </a:r>
                      <a:r>
                        <a:rPr lang="fr-CH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n «Vaccine </a:t>
                      </a:r>
                      <a:r>
                        <a:rPr lang="fr-CH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essibility</a:t>
                      </a:r>
                      <a:r>
                        <a:rPr lang="fr-CH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dex» (</a:t>
                      </a:r>
                      <a:r>
                        <a:rPr lang="fr-CH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reenivasan</a:t>
                      </a:r>
                      <a:r>
                        <a:rPr lang="fr-CH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t al.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CH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tage</a:t>
                      </a:r>
                      <a:r>
                        <a:rPr lang="fr-CH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actor</a:t>
                      </a:r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ssumption depending on the vial presentatio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vision made to cover unforeseen circumstances (increased demand, delayed deliveries, etc.)</a:t>
                      </a:r>
                    </a:p>
                  </a:txBody>
                  <a:tcPr marL="108000" marR="108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90206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84395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45291AE-EA20-071C-AD5F-3A17092735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/>
              <a:t>Assump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77FD61-CC8A-DB06-DCB9-F1AE88536E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SCENARIOS AND PROGRAM PARAMETER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49D7A9-8C60-3C0B-81A3-63D9467C1A5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6941447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B283A00-09C4-6DD4-06DC-BF293C1DDF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4757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283A00-09C4-6DD4-06DC-BF293C1DDF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436D7C1B-B8D5-036A-1B80-AA7E9CFE26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se Forecast - Assumptions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61C7AED0-5A5C-ACBD-3036-A38DAD1CD7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9567052"/>
              </p:ext>
            </p:extLst>
          </p:nvPr>
        </p:nvGraphicFramePr>
        <p:xfrm>
          <a:off x="408864" y="1018716"/>
          <a:ext cx="11374272" cy="5610717"/>
        </p:xfrm>
        <a:graphic>
          <a:graphicData uri="http://schemas.openxmlformats.org/drawingml/2006/table">
            <a:tbl>
              <a:tblPr firstRow="1">
                <a:tableStyleId>{073A0DAA-6AF3-43AB-8588-CEC1D06C72B9}</a:tableStyleId>
              </a:tblPr>
              <a:tblGrid>
                <a:gridCol w="1681707">
                  <a:extLst>
                    <a:ext uri="{9D8B030D-6E8A-4147-A177-3AD203B41FA5}">
                      <a16:colId xmlns:a16="http://schemas.microsoft.com/office/drawing/2014/main" val="904774762"/>
                    </a:ext>
                  </a:extLst>
                </a:gridCol>
                <a:gridCol w="1627785">
                  <a:extLst>
                    <a:ext uri="{9D8B030D-6E8A-4147-A177-3AD203B41FA5}">
                      <a16:colId xmlns:a16="http://schemas.microsoft.com/office/drawing/2014/main" val="738656853"/>
                    </a:ext>
                  </a:extLst>
                </a:gridCol>
                <a:gridCol w="4032390">
                  <a:extLst>
                    <a:ext uri="{9D8B030D-6E8A-4147-A177-3AD203B41FA5}">
                      <a16:colId xmlns:a16="http://schemas.microsoft.com/office/drawing/2014/main" val="4151568052"/>
                    </a:ext>
                  </a:extLst>
                </a:gridCol>
                <a:gridCol w="4032390">
                  <a:extLst>
                    <a:ext uri="{9D8B030D-6E8A-4147-A177-3AD203B41FA5}">
                      <a16:colId xmlns:a16="http://schemas.microsoft.com/office/drawing/2014/main" val="352804100"/>
                    </a:ext>
                  </a:extLst>
                </a:gridCol>
              </a:tblGrid>
              <a:tr h="350227">
                <a:tc gridSpan="2"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emen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sumptions to be validated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672373"/>
                  </a:ext>
                </a:extLst>
              </a:tr>
              <a:tr h="534892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600" b="1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Country scope</a:t>
                      </a:r>
                      <a:endParaRPr lang="en-GB" sz="16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9827" marR="9827" marT="27432" marB="27432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600" b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All Gavi-eligible countries (52) where rabies is endemic*</a:t>
                      </a:r>
                      <a:r>
                        <a:rPr lang="en-GB" sz="16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 </a:t>
                      </a:r>
                    </a:p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400" b="0" i="1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*MICs not eligible / List of countries in annex</a:t>
                      </a:r>
                    </a:p>
                  </a:txBody>
                  <a:tcPr marL="108000" marT="27432" marB="27432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6175566"/>
                  </a:ext>
                </a:extLst>
              </a:tr>
              <a:tr h="1076152"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600" b="1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Introduction sequence</a:t>
                      </a:r>
                      <a:endParaRPr lang="en-GB" sz="16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9827" marR="9827" marT="27432" marB="27432" anchor="ctr"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121917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600" b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2025: 7 countries </a:t>
                      </a:r>
                    </a:p>
                    <a:p>
                      <a:pPr marL="285750" indent="-285750" algn="l" defTabSz="121917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600" b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2026: 6 countries</a:t>
                      </a:r>
                    </a:p>
                    <a:p>
                      <a:pPr marL="285750" indent="-285750" algn="l" defTabSz="121917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600" b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2027: 6 countries</a:t>
                      </a:r>
                    </a:p>
                    <a:p>
                      <a:pPr marL="285750" marR="0" lvl="0" indent="-285750" algn="l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600" b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2028: 6 countries</a:t>
                      </a:r>
                    </a:p>
                  </a:txBody>
                  <a:tcPr marL="108000" marT="27432" marB="27432" anchor="ctr"/>
                </a:tc>
                <a:tc>
                  <a:txBody>
                    <a:bodyPr/>
                    <a:lstStyle/>
                    <a:p>
                      <a:pPr marL="285750" indent="-285750" algn="l" defTabSz="121917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600" b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2029: 6 countries</a:t>
                      </a:r>
                    </a:p>
                    <a:p>
                      <a:pPr marL="285750" indent="-285750" algn="l" defTabSz="121917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600" b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2030: 5 countries</a:t>
                      </a:r>
                    </a:p>
                    <a:p>
                      <a:pPr marL="285750" indent="-285750" algn="l" defTabSz="121917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600" b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&gt;2030: 18 countries</a:t>
                      </a:r>
                    </a:p>
                  </a:txBody>
                  <a:tcPr marL="108000" marT="27432" marB="27432" anchor="ctr"/>
                </a:tc>
                <a:extLst>
                  <a:ext uri="{0D108BD9-81ED-4DB2-BD59-A6C34878D82A}">
                    <a16:rowId xmlns:a16="http://schemas.microsoft.com/office/drawing/2014/main" val="495361795"/>
                  </a:ext>
                </a:extLst>
              </a:tr>
              <a:tr h="0">
                <a:tc gridSpan="2" vMerge="1">
                  <a:txBody>
                    <a:bodyPr/>
                    <a:lstStyle/>
                    <a:p>
                      <a:pPr algn="l" fontAlgn="b"/>
                      <a:endParaRPr lang="en-GB" sz="16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9827" marR="9827" marT="27432" marB="27432" anchor="ctr"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i="1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Country introduction assumed to be 1 year after application</a:t>
                      </a:r>
                    </a:p>
                  </a:txBody>
                  <a:tcPr marL="108000" marT="27432" marB="27432" anchor="ctr"/>
                </a:tc>
                <a:tc hMerge="1">
                  <a:txBody>
                    <a:bodyPr/>
                    <a:lstStyle/>
                    <a:p>
                      <a:pPr marL="285750" indent="-285750" algn="l" defTabSz="121917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endParaRPr lang="en-GB" sz="1600" b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108000" marT="27432" marB="27432" anchor="ctr"/>
                </a:tc>
                <a:extLst>
                  <a:ext uri="{0D108BD9-81ED-4DB2-BD59-A6C34878D82A}">
                    <a16:rowId xmlns:a16="http://schemas.microsoft.com/office/drawing/2014/main" val="3482363537"/>
                  </a:ext>
                </a:extLst>
              </a:tr>
              <a:tr h="3120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GB" sz="1600" b="1" i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Timeline</a:t>
                      </a:r>
                    </a:p>
                  </a:txBody>
                  <a:tcPr marL="9827" marR="9827" marT="27432" marB="27432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6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2025-2040</a:t>
                      </a:r>
                      <a:endParaRPr lang="en-GB" sz="1600" b="0" i="0" u="none" strike="noStrik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108000" marT="27432" marB="27432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7690546"/>
                  </a:ext>
                </a:extLst>
              </a:tr>
              <a:tr h="329516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600" b="1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Target population</a:t>
                      </a:r>
                      <a:endParaRPr lang="en-GB" sz="16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9827" marR="9827" marT="27432" marB="27432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266700" algn="l"/>
                        </a:tabLst>
                        <a:defRPr/>
                      </a:pPr>
                      <a:r>
                        <a:rPr lang="en-US" sz="1600" b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Individuals bitten by dogs seeking PEP care</a:t>
                      </a:r>
                    </a:p>
                  </a:txBody>
                  <a:tcPr marL="108000" marT="27432" marB="27432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6807406"/>
                  </a:ext>
                </a:extLst>
              </a:tr>
              <a:tr h="709718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GB" sz="1600" b="1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Presentation, delivery modes and product schedule</a:t>
                      </a:r>
                      <a:endParaRPr lang="en-GB" sz="16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9827" marR="9827" marT="27432" marB="27432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285750" indent="-285750" algn="l" defTabSz="121917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6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Unique presentation: 1 ml/vial, lyophilised</a:t>
                      </a:r>
                    </a:p>
                    <a:p>
                      <a:pPr marL="285750" marR="0" lvl="0" indent="-285750" algn="l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Intradermal schedule </a:t>
                      </a:r>
                      <a:r>
                        <a:rPr lang="en-GB" sz="1600" b="0" u="sng" strike="noStrik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only</a:t>
                      </a:r>
                      <a:r>
                        <a:rPr lang="en-GB" sz="1600" b="0" u="none" strike="noStrik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: </a:t>
                      </a:r>
                      <a:r>
                        <a:rPr lang="en-GB" sz="16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3 doses of 0.2ml each on </a:t>
                      </a:r>
                      <a:r>
                        <a:rPr lang="fr-CH" sz="1600" b="0" i="0" u="none" strike="noStrike" kern="1200" baseline="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</a:t>
                      </a:r>
                      <a:r>
                        <a:rPr lang="fr-CH" sz="1600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ys</a:t>
                      </a:r>
                      <a:r>
                        <a:rPr lang="fr-CH" sz="16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0,3,7</a:t>
                      </a:r>
                    </a:p>
                  </a:txBody>
                  <a:tcPr marL="108000" marR="9827" marT="27432" marB="27432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2739002"/>
                  </a:ext>
                </a:extLst>
              </a:tr>
              <a:tr h="16619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Vaccine</a:t>
                      </a:r>
                      <a:r>
                        <a:rPr lang="en-GB" sz="1600" b="1" u="none" strike="noStrik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 “</a:t>
                      </a:r>
                      <a:r>
                        <a:rPr lang="en-GB" sz="1600" b="1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coverage” </a:t>
                      </a:r>
                      <a:endParaRPr lang="en-GB" sz="16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48000" marR="48000" marT="64008" marB="64008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1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Baseline</a:t>
                      </a:r>
                      <a:endParaRPr lang="en-GB" sz="1600" b="1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9827" marR="9827" marT="27432" marB="27432" anchor="ctr"/>
                </a:tc>
                <a:tc gridSpan="2">
                  <a:txBody>
                    <a:bodyPr/>
                    <a:lstStyle/>
                    <a:p>
                      <a:pPr marL="0" marR="0" lvl="0" indent="0" algn="l" defTabSz="266700" rtl="0" eaLnBrk="1" fontAlgn="auto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Countries with known PEP usage (n= 25): </a:t>
                      </a: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PEP usage data </a:t>
                      </a:r>
                    </a:p>
                    <a:p>
                      <a:pPr marL="0" marR="0" lvl="0" indent="0" algn="l" defTabSz="266700" rtl="0" eaLnBrk="1" fontAlgn="auto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6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  <a:p>
                      <a:pPr marL="0" marR="0" lvl="0" indent="0" algn="l" defTabSz="266700" rtl="0" eaLnBrk="1" fontAlgn="auto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6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Countries with unknown PEP usage (n=29): </a:t>
                      </a:r>
                      <a:r>
                        <a:rPr lang="en-GB" sz="16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PEP population is a functional association between </a:t>
                      </a: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‘Healthcare Access and Quality” (HAQ) index, measuring infrastructural rabies capacity to provide PEP access </a:t>
                      </a:r>
                      <a:r>
                        <a:rPr lang="en-GB" sz="16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(Sreenivasan et al.) and known PEP usage in other countries</a:t>
                      </a:r>
                    </a:p>
                    <a:p>
                      <a:pPr marL="0" marR="0" lvl="0" indent="0" algn="l" defTabSz="266700" rtl="0" eaLnBrk="1" fontAlgn="auto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6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  <a:p>
                      <a:pPr marL="0" marR="0" lvl="0" indent="0" algn="l" defTabSz="266700" rtl="0" eaLnBrk="1" fontAlgn="auto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6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At baseline, we can calculate a PEP rate (% of PEP population among general population)</a:t>
                      </a:r>
                      <a:endParaRPr lang="en-US" sz="16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108000" marT="27432" marB="27432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96369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00607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32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’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.%#m.%y&lt;/m_strFormatTime&gt;&lt;m_yearfmt&gt;&lt;begin val=&quot;4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m/%d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KCzA73Vg22YT7GP2izV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YhqtG7X8jXLh8FornwM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kzMboeIYpqvwzrSmWQA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8XqOOzud.yIZFs7Dbwl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37ckzL9e5jljZS1DuzP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Hz6_fIwWw4eqq_huf5r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b5mR5zxw_nAYntw2z4L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4QToPxplLHDc859slyB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v3Dj59JjE4NZ9S3RQU.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yXitLB4MDdoJ9fuNx70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0u_DdKq9IQx_RZ6QuoJ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Dcx7RJ66_VPVdDBsjtf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dLFahX8NAwUyyAem6bZ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xKU7h8zk2LSe6P_89pB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kHdtpMi9k399c1ODHgg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cGUBj.OStCvnyJq5NQQ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f6BMx1YtTGtXuTC0z8H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QZNH6pyngZSAVhFdNa8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gegbVEKUGTPx6I6RioT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tkFXG5gCVhBHpSrp0F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etftmTGAkewxbL.8DPm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j7hPPdl0eziSMi5JnFO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iExaJCL5JUit3kFePXH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RZJ4fAW3A2dPOqK11JV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KMWf7Uy8tduFN3zEKXX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YJ_YhJsii8g4u_GOf5S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jC2hsXT2SoUnhquEOpt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2LwFgJZg4BqeR6V7IvR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RIqXjpf6_ZYQDoJsBuL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QonL_zPzVCUi1rxSt7H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0iWksL.rc_WioSjdrJ6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5wN5cfoU8QL0JZjpOhr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6fJ6ZQ4KnEWh6GQh7Rb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zT4DT5T0RqbgWWX9Slw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i4YOKBfVC1ooMa35TBI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vXG3O6e9lakTpMZEkCc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na.ELOZNmO1DY9TkFvs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twcqtwNrgPHPbfFTdjU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H2bwuNU79GpDo80aS7m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XvUHjFYPV8Lp3.6nNXa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HD4Lwq.WKDjQ7QnI05p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fvprcEtqNj0Yg3D8Lqr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BoZK4r6fCh19dFCc5PR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gIh0Kgh6FiJ.V5kMLsE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mkxMDr9SCU6TKTYIKtY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.HAiXl.uP3vDdLrW6LF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0XBvWL2rEq73lcNPIM.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nxltDgoptJXXgwmSPmi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Mz6cw.v0tfXrGF8aAl6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mQFwxH0fsBJPCMrE9HV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o4pGrINfvOSqHQ0_eW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cVk4RSnwEr0GSrLbuHD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ZDVL.bwJMnslTuXM5FZ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tFGk3Hqslp4FKCKDDAP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F.F4l4ihhOH0I5dzK1g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G_Iok5vLbOaQvLMpI_c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U7X1cIcckLfRNh7HWWD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Y.2eYB_cILebAgy.DGf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6bUsJkAeZ_zDg6Xz9UH7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Iiv..aP37ySFesTY4eI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ghu1ts12mvRJKI5ncIO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cN.hMDedE19y4zmdSMv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D8REs2nTB.jhez2F0Oo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NF8lMFYH7UsBWoEFEdk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SQq6OAv4S1KjLchA0zG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e53nnYK6r8zdBrztIjJ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zQ4htWXtTgOmfT1L4GN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5PZV.8HQXNN_fZf52k.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mprZ_vgFhS6aFly_3Nb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aFjSyx7f.8opxzZx0FO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.0r6Yq.0Ui2qkG1HoYn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xzEv07gZkB5stbxvL.H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OLmdQuL_iFJuYOz77a2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.jMybEticFs3_9iXnj8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R7QFKHet4eJqZiTXhgQ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4SROnektwyAhPz30_hR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aWgUGyBA.8.UoTfeCLD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LapNs3IRQlUeH2T_1DW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jUl7BVbRf.IbDRPRnJq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gFMGUbMK1lnhKsfguFP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fkH4Ju66KEEONtInsnp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l359Op9jIG44EXFdWVK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qn1WI1Bj_EbcibcwXCr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AVfacHYxcD2ANg.bCwV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5hKMwoCQIhx2a.QTKyd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6nyLRKIiVkIrFf6U9s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8uK97rhnlmqK2PXIFUjh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2XzFNv_G32qBXfznyts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6AojqYkXKj60IHM7D4p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x6X8Rukuxjv4lJRhtys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f5nPksTSXdhBOkOPTwY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gwQb2tqGwbj_yW3NjD1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gP11eyMhjjvMV9lDhCH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OKFHirrCp_tJsU666BA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FgBHCjEyDWnALqz5HGE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o5iuZRe.9gRShMIu3vg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NjkMrbBsYWFltDLTK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h6ccs.LEKezIoV96q2e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37m1YSplEt.o7rFHsSC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ZqQ2r2stR3IToXBw7wB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d_noL_Jt.JWp44_vr0Y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GnXpdpkKiLbi3tnisrw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0BOAeg71xGPWsaW2yaM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FhLLGB3RY53cMk3bFPm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DMiOPVljvw3.shGiDJ8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h7k_LvBfz9D3ekSOmS1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58jGEKqXX.opE7.vUYG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LIKeThFgnEbljFKNMHY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Tm.tSAlhR9R8ez6UgFI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8OUNNn7oGtKbCPfHSRm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2M_UYdBrDjVMAP63YR0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G0r.p59aaB93c739soT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IukMLGCa9.WUnzs3LOS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D43IaNAxxPK.R32XJv3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LaPjrEjG.25MV3OADgH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Iu.mxuEJTTVGk3CnrZ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8xEqkaLR7ghEoAR5YhQ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_iWo98Xq03EAk4.ZKNy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lXc9lofSPK_tcGcclL7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8TZDCHMJ6cjggBJAGtB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lkl7nnpT1oVblJTtz.H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E0t6ZBrRNyY7hiCU22F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fEPmkhtugOYD_kJ_y4D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xdX4LRnCzPl1oQg7Unz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3qQufQlFg2Hu3lRe3Nx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Rw_VykcXjVim6OFie._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MFCbNmVSRffZmkrGsff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4Kx05sq4BNZXc1.zqjD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FmtC.Z27UNj1qBO8pf8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VuOFa61Q3uCCAGv9bva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iZueYfgwELBbzUbFUuY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hTFs40dp2ewhDCTUavN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fS2wvTmVjNDTbd2ibZq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UB4mQ5cZqXRFce5P_JX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dOVHcDqEYN8_rzpbgZ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pIs8zKcAlhxkhRidozI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sP3eEOxyhFo3.Iih3FF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9S0tThI3xUoSdQat_sWT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MMCvVlNi4k1fIVWUROo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v0KeoID6HDsWxNICF1W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96n6hyVGk2c7zeJ2yo6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C_1HZIwRXaIgKRPeBEq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2q0PqKWHSTzGA1GsWIv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k8rjM.ZbFOVQi1IyVwN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BB8Jxly0Nq7Slfuqxsv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a9.jl9tzciILP6S3Mmc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x7JMaMeGY0JtZPevHmU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1p6ViYI9cmZe.59d010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5Edcn7H7r4UJFzo89zG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6OBVN3lhxI1Oylu_y.6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3LAZhiXSTBfj6febXNm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.iS75G3ArHcdTqOEGp2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5IolOhZoxQGECAwmK.i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yKnCynun2kcMIUplcae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n5ScAW3xhSyZr7Gv4jz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yvp1Z0ADgqODqtTu_Vh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RXMdX2ka75apQ6yN4kQ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FQgA6pdKzTcKszjAMuR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rXKkk3Va_ZA4NjIiEi9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BxawUiRNJFKwkLmt6ad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8aFHYq.afV8GQi6G3yT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t6go5esl_1WViRpL7Uy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YmbU0nGyd5YFb87oAnF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FueELRkgvmlz.iJjREG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w2mDZXSkazrNj2.R78u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Fm7ljhyfLv9DClaDwcY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eKmgF6m0t__nxoil3rd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3QEJMYLKLxC_.D7TRVl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59vY2zM4XmcyXaNKMus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kM9npoqDbIDRcKQFCvv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Mg2yrOAlpGfLsvT3jG6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opxoreo2qe8erksOhIB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AJgfps69i4NOWwRlibN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RzrdHOM6Y9BbulE4qK2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LZCbh4RpRLGdh77opQY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FKwYb1OO2zo8.oEvhjx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miBy7_8gj9aHcLEqq3f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JOHUnlLciFmgkwCgnuW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AR9vrqM5mwD4Se9O9x5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qJC1z10HtR6WdvhKUOT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kNjG5_jubl_8O3PUHyh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PzfRsQMv4SVlfDXtjAX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bGug2P2ePxOuLlcZr2b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mMfMiTCQc0lVCvbJMHM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zqTZ.rx5S_m8rhXoT9m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ZDuEux4D0RBcsrTt46_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vbiTq.E_a1q7s5T1X0J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N7NGbAFhrHP9U.hGmLB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oSTyMWXQPEKo21dqIrQ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L22JAPb8cYrjcmfW6RQ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zekxUhgDszIVaR6fljQ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cGy8qgM5388CAOM.hBm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1OoDQxFguuKrBb42bWx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wyntjfgCpCS8TEcfK_a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UY2spBwSq2e_EX4i.9M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MZc2yHSMtx3SEk5D1bg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WlQkakL35ZuHsCyl4ue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ZYti5JkjltcpATxQEDs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zDRQWmP6eJQLXedKPVZ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jqYVUySYliQ1kfXlBJt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4DY5iaBbUzOB1n1tKfO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m4vnlDA5IIRLl4mXKsQ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7bX1DtpXz2e5Ch5H.4v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kTitmhYiwB6SSXXW1H3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bYQpP1IZ19oEZuk2wGF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JdVSXOROHT8u0iPsj.H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f_BW67CaLjOG4_Q37To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xxPIRxD7OZIoSYiyUHx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OY.TiGEa1wlF.q4mybB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nxax3MmVkbfqcQJgfEe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KHFJnnpoqgXceK3uHEZ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jaIkIIBC3oEeD5WBkfu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y8dPYxsGIum0Jm3az0T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PTBUn_fSfNdBTR7vME0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V3Hssai.toW_jTlCx4R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Ozy_ofUxXSPFb5jsKyd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A0ev15fp0FOfTSDcqf8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VKEQ5otOQlHBO.axx.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Nn3qEeSSDfrJqPxcb6m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gVfHWisycnER7sNWw26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SSw0LFLBx5HjLxWfKK5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cUBpVoDAfCU0V6jzCHz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BFfTOT5kmO1tlVZrMhJ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8Zxp44BT_SaVS_HX2K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zGIBcNfTZ.K5n8UdhMz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xUsRzghcKVAqNTEycdR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DnDsGCNovzDMM3xnm9I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Nvazvz.TxTfhh3VkJfc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Z7.NVY8m9nuzDNwsbds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Dl2jTkAfapu2vD0lFFo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6QfyKVUq_9q6e6R4aUH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0vryYCF8_80JiGdx905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cAlr.R.N4yO5nqNVnKZ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W6v5JHiaXiRLJSrnGK_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jFXIQJ3d.ZMlnK96Ior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3DPZV6hsNn4v3.GSYx9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akEIrk9TQO0j7vtC.SH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yzy9IcAknv4vjXLlhYK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9KbjlY61berpiRNzKRQ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ZL6EQhoXohOTpqc4i_M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Q4D3LxpVNRf4D5.qsiO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KFRhjl50U6RPR1yplOr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1bjuuChnYwKP.fQKqy1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1_aidHxFu9UVAxtdeCT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xYXwI8UPEmZ9y2XU59E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uM47CidPpdaPlnaXoNj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agaPWFmjGccmLG0EJ_U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DYyq2e4ZUz4ye2t2Q9n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dPCKOJ5olmsUb_9ZJGE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vomDNsvdMdzCiDGZN3J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mZjAV_YSymj2WESgjvO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i_e_ovuJ1gkJujvtKc5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6YfmxYxy.X0ZoiI8OdS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ESWsm7GB4.1YwAj_b4F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phDsXiNLXbbLzL4t.qtg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ZzAd46luwIyT7MlhTfo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JoPQWOExpJpTaV6qLAT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q8KTegO3xImXD13fULL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kpsaSi.d4ykZjEfPqqF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Eej_PVh1SBB7NeQbBzZ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xPW9jx7G.tnDi7TkQ.S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aByz26tCa7.1UJKuAa2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4bJYRvEDqnDwwpyhL7e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KWH3AIBMjCy5MgXEZDm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tmYOgZtSQKIhPzBOC44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N0yNtqQ1K.TizicoP.L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K98cI6PIFicvltB1iVg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Ox7mh77hOcaQnGNsRbD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VBN1qpa4.tQSEaXGjhZ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WztazHCG2BoVcHRRjvF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pwl1EFm25QBL9CsnCn4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YFrUK31vYsp8SNEmB7I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d_21874g3CfTb6r68e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KL350doQF5n.aZ3Tazx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CGVIXWu3sflkvcSsYuO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dpRBBvpGuKOh8B62TDi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GPXDusM1_DLoVimzPfz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XmBoFwfJCbEEfrs7SwH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qZZMUgtB4SrQ8_4rAdG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wv.s5xboeGSJR.OtQ2S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vtfVW4D6R3800l9bHho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Na7087g6ipqm1fU0WLe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Q89_3NvDSae2bmqculb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2HaoJZDQDz3WltrUtmT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M_GZv7IKg7hZhnu4Y0Q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idvb5aLFfVh.AEQ9sfy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GsV0vWQja3WK9rR3deg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2_2tVkQ4ULcvNF7lIhI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yihu4XQVzg7uAVPAMlM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q2RSNZfMDxuANctnuzC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rvrlzEC7cp2lp3AlCRq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ubjYp6bb1Tl48GzflPy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Q3tRbWwzhk3jutSwHMk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B78soA6qq_c2N.VeqlO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TaR8nWyxQQenlqWuGaX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OfyRw3gb2WqHy86..fI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N9IjPbN.AOp87H8zcYfg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ZrqNsYN5RlF2vku6XDy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vTgQyvozhgAwLU3U7XS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zroMeQpwZS7SsAIla8m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n32cJ2GHsAqUkREKptr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oQYmoqJTuOvaBPUOmrL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kYSpZdFl2beoMc3l8MO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.QicxnPQ_IqsRBDHLEr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FgWLZ_eJa8ibFojFR7K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u6_Gb_fa5zYf9x9Rtp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YTcE7ZIn7kEpWczx4hb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JvXWY24AYD2gnnEqXG3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vcsvgxifTP_0UZWtfo7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S5mseJw4Ou2g46gFnGp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9d4xBHP0i8hfyFtI8AJ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6r2HQr.l3DOQl.1Uuvk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d.n4hE30rn6cNwmQFh1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H1jEVQ.Op7MOR1TXa5p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KrdI9IfY2jrVjFftPiH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hUQYimb8UkcwpXd8uZi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8RxCQ.haRYUWOUlbyv6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pOspK3prdc_gZQodmK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OFBbIy97dA.cxgHZ8Mf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9PGJBEQIE.inZhIQS.d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_VkN.JTb4DeotXIipIpv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02SozEcr2bO_iX_Wmy5w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vu7B9hYqzsD7AS6xdR6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ARnWWjoBlWPyaRZztQx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HeffgM655LAFjygaYdz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XD3jt9DwnGdYD5uxyvN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9.ljmmfwDXbLlI4WYP9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nP2yYlYL6pP0AjyS7I9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.d9e4fZk_4yC9SytCZ0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18tsLxB_UHRlu_79fDCg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Zysw.1fVR7xu1ZlykXR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Rn8PjeFSuC7y94.F_sH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vKfB.nB1JRMFZZhiPYo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F5_WG353U5EBQdBuDBG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4UgfA2UHTliV3Y6xaNM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CzKKiP1xhnavLiHVO7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VKsvPOd_gXodc6hBe9J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psk8dHtwl6570Z2QXUt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xVbabzz40ZLECitAgZ0g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t9Q5Bw3idXcouPP9yB1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FvIge0hWwoAhiP6ffl7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yiHpFo8WYski_6SBdr5A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.SV3Y7cdSekhSbuD7e5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A.5Jcqd.Okeew8NHO1Dg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ssgEBeNlHYQUeyD9Vm9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YFrUK31vYsp8SNEmB7I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KL350doQF5n.aZ3Tazx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nsWxVkU5JDhXrPZnsCmg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4gNmnQeBFZ.CL1VLdIT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d_21874g3CfTb6r68eq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j_qxEkn7mFwV0s9Z8IJ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wnYlUcYHMgkGCLo6jsi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KqVZAqh0MBh7.87lE7e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XmBoFwfJCbEEfrs7SwHg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IMLzIbgXkM1WYOGrMPJ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G4T4O3gQ.waDx2bS.1vA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GPXDusM1_DLoVimzPfzQ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Q89_3NvDSae2bmqculb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4HQ0JB7vLc9DgvUIjfZ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ry3bXcjJfspxzIt5m2J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dpRBBvpGuKOh8B62TDi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JNUR4uiPXxnPrkZ46Jmg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y3audOsLhPg0tM7sfCnQ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Na7087g6ipqm1fU0WLe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2HaoJZDQDz3WltrUtmTw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M_GZv7IKg7hZhnu4Y0Q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uFDTB5tZoLyZb3HzLrw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YEZvVH5fDis1J7SAy9V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PbNLc2C5cnQJtgR8MdQw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q2RSNZfMDxuANctnuzC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rvrlzEC7cp2lp3AlCRqA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ubjYp6bb1Tl48GzflPy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AbO_l00CxHwmZM99E0G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y5YR9j06Me5gDQHMSGE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rik7p6FXDcbeKsBVs36g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93R79rEeAe0cTldUtJV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OfyRw3gb2WqHy86..fIg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ZrqNsYN5RlF2vku6XDy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vTgQyvozhgAwLU3U7XSw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f2Yy9We14.ey8bGOVrzw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9ABnRYrE.Z14zCGeiX5w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raRXbDlWypLd0FD5RPO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kYSpZdFl2beoMc3l8MO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cQFyx8IhZmibZDn8oMfA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.QicxnPQ_IqsRBDHLEr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FgWLZ_eJa8ibFojFR7K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J860mRKvyZVnQZ6wy_Uw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UW18vCQ2nCx7RjgRink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o3J7mVzseQxC2pHoPK6A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S5mseJw4Ou2g46gFnGpg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hUQYimb8UkcwpXd8uZiw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6r2HQr.l3DOQl.1Uuvk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DvCz_VLn5Qf18oGEBiJ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KrdI9IfY2jrVjFftPiH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BbJXYsPJnxubZhxl19L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02SozEcr2bO_iX_Wmy5w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8RxCQ.haRYUWOUlbyv6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pOspK3prdc_gZQodmKLg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9PGJBEQIE.inZhIQS.d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_VkN.JTb4DeotXIipIpv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F5_WG353U5EBQdBuDBGA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nkdYx5D7UJLW3406f8w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TCuvgaX95hoYsrkWeohw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CzKKiP1xhnavLiHVO7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psk8dHtwl6570Z2QXUt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zZ3MJBF0KiGNT7tTrML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t9Q5Bw3idXcouPP9yB1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rBHcxqNTp9k641robnx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jY.zS7LO_Ej6XO8vFni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HdTkaQv6r0XMYQSEtFa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E9U8eum1XynghqpIQjOg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qnqN5yftmHcJnMXFlvN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jf9Owmi5ISW010TS4P1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gAVzYUpTsiQkn6mo_gh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AlM_Exwd8g6gMNssrvOg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ODFyU5D69lRSMOj1sQK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JuE2k2G4Cv2OEbjj_t2g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Fphj7xaSK.enNDmLocNg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ona7CKa7b3WxzaEG2TuA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J_4fWosAzwG3wlf2WAo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5mf8RXQxepBKpg2DWBzg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_hZRJMacz6HbxDngyg.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zuxhe2vloQHKUmb3_AEA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YFrUK31vYsp8SNEmB7Ig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KL350doQF5n.aZ3Tazx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d_21874g3CfTb6r68e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VSpT9tHy1p4pipY5Pf6w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wnYlUcYHMgkGCLo6jsiw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nsWxVkU5JDhXrPZnsCmg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Q89_3NvDSae2bmqculb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qZZMUgtB4SrQ8_4rAdGg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Na7087g6ipqm1fU0WLeQ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2HaoJZDQDz3WltrUtmTw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M_GZv7IKg7hZhnu4Y0Q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GsV0vWQja3WK9rR3degA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q2RSNZfMDxuANctnuzCg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rvrlzEC7cp2lp3AlCRq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HFBTglO9klXcH8bTPts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ubjYp6bb1Tl48GzflPyw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Q3tRbWwzhk3jutSwHMk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OfyRw3gb2WqHy86..fI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ZrqNsYN5RlF2vku6XDy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vTgQyvozhgAwLU3U7XSw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zroMeQpwZS7SsAIla8mw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kYSpZdFl2beoMc3l8MOg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.QicxnPQ_IqsRBDHLErg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FgWLZ_eJa8ibFojFR7K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u6_Gb_fa5zYf9x9Rtp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OkoPHPxp64Tr675Dx53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S5mseJw4Ou2g46gFnGpg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hUQYimb8UkcwpXd8uZiw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6r2HQr.l3DOQl.1Uuvk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d.n4hE30rn6cNwmQFh1A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KrdI9IfY2jrVjFftPiHg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02SozEcr2bO_iX_Wmy5w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8RxCQ.haRYUWOUlbyv6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pOspK3prdc_gZQodmKLg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9PGJBEQIE.inZhIQS.dA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_VkN.JTb4DeotXIipIpv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wYOOj6SHstEYlzuwWR4A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G4T4O3gQ.waDx2bS.1vA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y3audOsLhPg0tM7sfCn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XmBoFwfJCbEEfrs7SwHg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93R79rEeAe0cTldUtJVQ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raRXbDlWypLd0FD5RPO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o3J7mVzseQxC2pHoPK6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dpRBBvpGuKOh8B62TDiA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GPXDusM1_DLoVimzPfzQ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PbNLc2C5cnQJtgR8MdQw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uFDTB5tZoLyZb3HzLrw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Zymn1ns8gm8799iQnebQ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y5YR9j06Me5gDQHMSGEw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f2Yy9We14.ey8bGOVrzw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J860mRKvyZVnQZ6wy_Uw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DvCz_VLn5Qf18oGEBiJA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4HQ0JB7vLc9DgvUIjfZ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F5_WG353U5EBQdBuDBGA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CzKKiP1xhnavLiHVO7A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psk8dHtwl6570Z2QXUt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t9Q5Bw3idXcouPP9yB1A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.SV3Y7cdSekhSbuD7e5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BStrtfxgfoqvFsUJPHvg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TCuvgaX95hoYsrkWeohw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Zg6xBWQwFzsIwGlp3BHA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arfxxE7QPWQ8HrKQpG6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jOeJLi4rFa0plrjVs1j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fn5hG_swv39Eb04V90j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vCgh3mHjrtLHiUgyKNbw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ODFyU5D69lRSMOj1sQKg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AlM_Exwd8g6gMNssrvOg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gAVzYUpTsiQkn6mo_ghg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jf9Owmi5ISW010TS4P1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_wi7OdC9Ik1Qu4OpGW4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NMYXoYuKiMylbg90B2Kg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ona7CKa7b3WxzaEG2TuA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_hZRJMacz6HbxDngyg.A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5mf8RXQxepBKpg2DWBzg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J_4fWosAzwG3wlf2WAog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jxxR5KkHLJ5mbDukOfN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YFrUK31vYsp8SNEmB7Ig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KL350doQF5n.aZ3Tazx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nsWxVkU5JDhXrPZnsCm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KJjC_5ADmCf8oRGljedg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wnYlUcYHMgkGCLo6jsiw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d_21874g3CfTb6r68eqQ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2QapMo9.yQy90gy44zFw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xKFCGM4.VqfLjiWcqf_A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GPXDusM1_DLoVimzPfzQ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Q89_3NvDSae2bmqculbA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4HQ0JB7vLc9DgvUIjfZQ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y3audOsLhPg0tM7sfCnQ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Na7087g6ipqm1fU0WLeQ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2HaoJZDQDz3WltrUtmT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tqOa5F7o02xKR0p2Srng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M_GZv7IKg7hZhnu4Y0QA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uFDTB5tZoLyZb3HzLrww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PbNLc2C5cnQJtgR8MdQw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q2RSNZfMDxuANctnuzCg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rvrlzEC7cp2lp3AlCRqA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ubjYp6bb1Tl48GzflPyw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y5YR9j06Me5gDQHMSGEw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93R79rEeAe0cTldUtJVQ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OfyRw3gb2WqHy86..fIg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ZrqNsYN5RlF2vku6XDy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rU4O1h_.DCnYO_eFZsX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vTgQyvozhgAwLU3U7XSw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f2Yy9We14.ey8bGOVrzw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raRXbDlWypLd0FD5RPOQ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kYSpZdFl2beoMc3l8MOg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.QicxnPQ_IqsRBDHLErg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FgWLZ_eJa8ibFojFR7KA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J860mRKvyZVnQZ6wy_Uw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o3J7mVzseQxC2pHoPK6A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S5mseJw4Ou2g46gFnGpg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hUQYimb8UkcwpXd8uZ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hpea6cpu.SFoHLeUKJgQ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6r2HQr.l3DOQl.1Uuvk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DvCz_VLn5Qf18oGEBiJ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KrdI9IfY2jrVjFftPiHg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02SozEcr2bO_iX_Wmy5w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XmBoFwfJCbEEfrs7SwHg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pOspK3prdc_gZQodmKLg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9PGJBEQIE.inZhIQS.dA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_VkN.JTb4DeotXIipIpvg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Vxv3bpJmlkjBNzrz9hTQ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k05AyjT7RO7YAg1VKGk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eAqFXzC9VIDhbONUk8NQ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8RxCQ.haRYUWOUlbyv6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7BansCF6832alKeO3k4Q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R57tXgHsFIJ7yJpL2n7g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AHVH9jC1r4TfvG8dMo4A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G4T4O3gQ.waDx2bS.1vA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dpRBBvpGuKOh8B62TDiA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fTpiWwHwjpqC_d0gsTdA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F5_WG353U5EBQdBuDBGA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TCuvgaX95hoYsrkWeohw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CzKKiP1xhnavLiHVO7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pUYqvURbltS2hMOrCaAQ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psk8dHtwl6570Z2QXUtQ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t9Q5Bw3idXcouPP9yB1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.zSqQ_3Nslri430Ujskg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WUy1MOElmDeuWeE694QQ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j5VT0YCJcL60oCd13g6g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wisHVPpaedF5Sa3YdNyQ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yiqczPORsLwK1yhIZxGg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oIK73ZwjrRx4dLE.X4Lg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jf9Owmi5ISW010TS4P1w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gAVzYUpTsiQkn6mo_gh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OKwg0WmqAgfeekF.xcMw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AlM_Exwd8g6gMNssrvOg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ODFyU5D69lRSMOj1sQKg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s3d_.8Wy2KcsEjUrkIAg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ona7CKa7b3WxzaEG2TuA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J_4fWosAzwG3wlf2WAog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5mf8RXQxepBKpg2DWBzg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_hZRJMacz6HbxDngyg.A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n4N_c59.GvSOzN6TsN1A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YFrUK31vYsp8SNEmB7I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Y7ZdHEbU.mPkB6p2VKWA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KL350doQF5n.aZ3TazxA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nsWxVkU5JDhXrPZnsCmg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2QapMo9.yQy90gy44zFw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d_21874g3CfTb6r68eq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wnYlUcYHMgkGCLo6jsiw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xKFCGM4.VqfLjiWcqf_A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G4T4O3gQ.waDx2bS.1vA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dpRBBvpGuKOh8B62TDiA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GPXDusM1_DLoVimzPfzQ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4HQ0JB7vLc9DgvUIjfZ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0U3Lh0rHUQeQUqQEiMBA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k05AyjT7RO7YAg1VKGkA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y3audOsLhPg0tM7sfCnQ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XmBoFwfJCbEEfrs7SwHg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Na7087g6ipqm1fU0WLeQ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2HaoJZDQDz3WltrUtmTw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uFDTB5tZoLyZb3HzLrww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fTpiWwHwjpqC_d0gsTdA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PbNLc2C5cnQJtgR8MdQw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q2RSNZfMDxuANctnuzCg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rvrlzEC7cp2lp3AlCRq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pZJzj9PVxuy.t99tNCKg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y5YR9j06Me5gDQHMSGEw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7BansCF6832alKeO3k4Q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93R79rEeAe0cTldUtJV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OfyRw3gb2WqHy86..fIg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ZrqNsYN5RlF2vku6XDyg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f2Yy9We14.ey8bGOVrzw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R57tXgHsFIJ7yJpL2n7g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raRXbDlWypLd0FD5RPOQ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kYSpZdFl2beoMc3l8MOg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.QicxnPQ_IqsRBDHLEr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8Lz7RIRROA6EdbLKUTpA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J860mRKvyZVnQZ6wy_Uw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AHVH9jC1r4TfvG8dMo4A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o3J7mVzseQxC2pHoPK6A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S5mseJw4Ou2g46gFnGpg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hUQYimb8UkcwpXd8uZiw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DvCz_VLn5Qf18oGEBiJA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Vxv3bpJmlkjBNzrz9hTQ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02SozEcr2bO_iX_Wmy5w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8RxCQ.haRYUWOUlbyv6A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pOspK3prdc_gZQodmKL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._lZUdmecKDzMiWczLWw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9PGJBEQIE.inZhIQS.dA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_VkN.JTb4DeotXIipIpvg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KrdI9IfY2jrVjFftPiHg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J1myrg47iWY7lPhlqoXQ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jL0dPYLRX0hhDZZvUHgw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hHiFbNZv3hs9yXpi0ldw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MF6YXa851IRbKvBRS_dg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HRfiuQ_edvXaogjUOj7w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Y0OgJCJPBFNaFCL0K9Tw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F5_WG353U5EBQdBuDBG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C82UtYf0LtDzetQvsHsw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.zSqQ_3Nslri430Ujskg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TCuvgaX95hoYsrkWeohw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CzKKiP1xhnavLiHVO7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psk8dHtwl6570Z2QXUtQ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5vlZsArmcrZPOV4jtVng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J7Opc3uCJFhHzOkoutLA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qggggF3i.caQ1N4lu4FA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MHz1tBtaOMrric4_xDkw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NPmph3HyXxmxOvdWPJuA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1nc5DSaE8imMi3HTgn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hQ24Lze.1U4hNNONPaOg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gAVzYUpTsiQkn6mo_ghg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AlM_Exwd8g6gMNssrvOg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ODFyU5D69lRSMOj1sQKg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s3d_.8Wy2KcsEjUrkIAg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Xq6Jr3mDE5zcVsAW.sRw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J_4fWosAzwG3wlf2WAog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5mf8RXQxepBKpg2DWBzg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_hZRJMacz6HbxDngyg.A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n4N_c59.GvSOzN6TsN1A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Rsh5bmvC0NR86u4PVis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Re67s6AhXUIUePztyBrg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YFrUK31vYsp8SNEmB7Ig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KL350doQF5n.aZ3TazxA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nsWxVkU5JDhXrPZnsCmg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2QapMo9.yQy90gy44zFw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d_21874g3CfTb6r68eq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wnYlUcYHMgkGCLo6jsiw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xKFCGM4.VqfLjiWcqf_A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qA.6YK.AMjb3k90h8lCQ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Agk0.ikbj0QrKEmdAKx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drvjkq0UA0tzNaUJ.V4Q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GPXDusM1_DLoVimzPfzQ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4HQ0JB7vLc9DgvUIjfZQ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k05AyjT7RO7YAg1VKGkA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y3audOsLhPg0tM7sfCnQ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XmBoFwfJCbEEfrs7SwHg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Na7087g6ipqm1fU0WLeQ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2HaoJZDQDz3WltrUtmTw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uFDTB5tZoLyZb3HzLrww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fTpiWwHwjpqC_d0gsTdA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PbNLc2C5cnQJtgR8MdQ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2tyiG4icylRXkcThTn8Q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q2RSNZfMDxuANctnuzCg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rvrlzEC7cp2lp3AlCRqA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y5YR9j06Me5gDQHMSGEw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7BansCF6832alKeO3k4Q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93R79rEeAe0cTldUtJVQ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OfyRw3gb2WqHy86..fIg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ZrqNsYN5RlF2vku6XDyg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f2Yy9We14.ey8bGOVrzw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R57tXgHsFIJ7yJpL2n7g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raRXbDlWypLd0FD5RPO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WY5EPt0FWglychtu.ovQ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kYSpZdFl2beoMc3l8MOg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.QicxnPQ_IqsRBDHLErg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J860mRKvyZVnQZ6wy_Uw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AHVH9jC1r4TfvG8dMo4A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o3J7mVzseQxC2pHoPK6A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S5mseJw4Ou2g46gFnGpg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hUQYimb8UkcwpXd8uZiw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DvCz_VLn5Qf18oGEBiJA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KrdI9IfY2jrVjFftPiHg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02SozEcr2bO_iX_Wmy5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21.r.07FSkHLvzLEr7CA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Vxv3bpJmlkjBNzrz9hTQ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pOspK3prdc_gZQodmKLg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9PGJBEQIE.inZhIQS.dA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_VkN.JTb4DeotXIipIpvg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yiMXlqWXrpukVU1FXWVg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MJIx6KCBxU98DwVD.Ghg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8RxCQ.haRYUWOUlbyv6A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85CNMUrruPT7mbJCJfgw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R6W.0VS.VEUwcj0VdcyA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ji9uonAwN..r3ZYjezN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t7M8giF.YDJKULhzVQGw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G4T4O3gQ.waDx2bS.1vA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dpRBBvpGuKOh8B62TDiA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1tt76BNSeVazzGd2wq7g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F5_WG353U5EBQdBuDBGA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5vlZsArmcrZPOV4jtVng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.zSqQ_3Nslri430Ujskg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TCuvgaX95hoYsrkWeohw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CzKKiP1xhnavLiHVO7A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BprLdODS1SKK7YMqXawQ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GOPa8dWadcgmLplPpOZ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Qt625oENLNnNYWfM1ljA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JYjHHsLwwoyJwZwtRBQ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lrYIbWQvMlKqjYchG0og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gy4pewOiN4FkOpkqubpQ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7kmPM4fzL8recebPNTZw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gAVzYUpTsiQkn6mo_ghg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AlM_Exwd8g6gMNssrvOg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ODFyU5D69lRSMOj1sQKg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s3d_.8Wy2KcsEjUrkIAg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ofdx430GLP8EKBNyVYMA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J_4fWosAzwG3wlf2WAo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2.u0qtksFL7XV0tU1j_Q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5mf8RXQxepBKpg2DWBzg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_hZRJMacz6HbxDngyg.A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n4N_c59.GvSOzN6TsN1A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O27GAHKeaGRMZgsamiqQ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YFrUK31vYsp8SNEmB7Ig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wnYlUcYHMgkGCLo6jsiw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KL350doQF5n.aZ3TazxA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qA.6YK.AMjb3k90h8lCQ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xKFCGM4.VqfLjiWcqf_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eIxhG6GlcjWEsIHOa_Zg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2QapMo9.yQy90gy44zFw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d_21874g3CfTb6r68eqQ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Agk0.ikbj0QrKEmdAKxg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nsWxVkU5JDhXrPZnsCmg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zv1c3F2r4BMqPEpzjxmA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EARXfvt5JCRNKWdG93zg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XmBoFwfJCbEEfrs7SwHg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dpRBBvpGuKOh8B62TDiA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4HQ0JB7vLc9DgvUIjfZQ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MJIx6KCBxU98DwVD.G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K2H.F6YZnBI6Qjzy9.Xw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k05AyjT7RO7YAg1VKGkA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y3audOsLhPg0tM7sfCnQ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Na7087g6ipqm1fU0WLeQ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uFDTB5tZoLyZb3HzLrww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1tt76BNSeVazzGd2wq7g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fTpiWwHwjpqC_d0gsTdA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PbNLc2C5cnQJtgR8MdQw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q2RSNZfMDxuANctnuzCg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y5YR9j06Me5gDQHMSGEw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85CNMUrruPT7mbJCJfg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lbrHLBZ5bU4T_Xiw2f5Q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7BansCF6832alKeO3k4Q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93R79rEeAe0cTldUtJVQ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OfyRw3gb2WqHy86..fIg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f2Yy9We14.ey8bGOVrzw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R6W.0VS.VEUwcj0VdcyA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R57tXgHsFIJ7yJpL2n7g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raRXbDlWypLd0FD5RPOQ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kYSpZdFl2beoMc3l8MOg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J860mRKvyZVnQZ6wy_Uw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ji9uonAwN..r3ZYjezN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AHVH9jC1r4TfvG8dMo4A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o3J7mVzseQxC2pHoPK6A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S5mseJw4Ou2g46gFnGpg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DvCz_VLn5Qf18oGEBiJA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KrdI9IfY2jrVjFftPiHg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02SozEcr2bO_iX_Wmy5w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yiMXlqWXrpukVU1FXWVg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pOspK3prdc_gZQodmKLg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9PGJBEQIE.inZhIQS.dA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_VkN.JTb4DeotXIipIpv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IDHoyoQoEuBlLTpwPcOg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Bd0vEAgJkplFVFYE320w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8RxCQ.haRYUWOUlbyv6A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NbTIFVKwf3F.5Hg6Vk3A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6WlPkYCeXWwNs_YQP6zQ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5KKS4.bnIUFejpvLJoOcA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Vxv3bpJmlkjBNzrz9hTQ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G4T4O3gQ.waDx2bS.1vA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cVjahNloLfLUW2r63tAA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F5_WG353U5EBQdBuDBG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BprLdODS1SKK7YMqXawQ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5vlZsArmcrZPOV4jtVng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.zSqQ_3Nslri430Ujskg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TCuvgaX95hoYsrkWeohw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f7pJrDBLBX80DiCrIC4A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BiGKPSFG9MC6yYEtFFbw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C_sXbCUl7YayEbT1KyFw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afh0hDQyr4jULTa0mgzw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DozFOHKRAjdN7u54pKqw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NQ0cOmvXZjV7NPXqLp3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fM7i6ZiCmkqPVjfF0AGw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7R9kNA9ZC43HWcv_VAjg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B8KfiIFsiCGrnTM1edkg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ACRf3X8UXPwC_d47uzsQ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RPRFlc_AUIBT8pwcjUIw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8FhO9y2F0E6ZZd1kyRWQ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BlCofvnvMXEI7Y.Lyvbw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CJRw1W7fk96veab9nmgA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XmH.uKCABiwloB2gLBnw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dz3ZP9tJQaMfeBx0E4Z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FvKLlu_xKdVswyzRygBg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LppcE8Z_lSch_dO7Mgaw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5TEyVpef1yzpdlkbYHeA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ujyMvQwcyETrKQig7SCw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hzi81YW0X3S8n_Z.tnw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RnpejaQGCwawhqKb71iw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DOxle.0aBtQhdxnMd7hg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4muMX829.UfVAVvDHZHA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VZrGNHNZWr1BgsGyBIW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D8REs2nTB.jhez2F0OoA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8mgnNh1Xy1KiODqpdymVg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lDhQwACdfoSAbtZNNxwg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RCNfINQEYPwdCvgWH2Fg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2lZRSvXqot8pjcbunKBQ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uoIhpkRMcwlafXRjTIiw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85yxCyzMHM1R27wUgvwg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D8_p.JmUGk3lmeKuyPVw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qb0EmCBLdmEqMRJxF9IQ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1lEPOMJXoVg9yrP.j5vQ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iHiyE.2SuB9lENt5db1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VEbk2mRihUjOngNtirrQ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gtgxSffEYX1QclMpHrBA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4RrVKLazeMJnw4H1lh2A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uXFk8XOn9bIQUJq0ynng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NDZBz1ngsN3pm8HbAzOg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WYGopXj.0URA5.IZkT8w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uo8thnBFp7maW54xcH7g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NJFGHJzENmVy1xsWZcyg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rH8t0PFPS3AUyXCOPHKg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0w8HohRy_ZSGCtgjn_iw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B_B0KXM6WmJ8F7xGS8K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7rwgXeIU.SZlHtWLKcCw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W8upFzfEKERNJxYhHXng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YCaLH6WujkTNSbZ5ZCvQ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pIw8_u_Ebgj5Q7yVxYXQ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Mb_f6_jFFG50y2gpjFOQ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6yv1zf2fxIk35MwT182A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7lb3QzM1LdNpHjWpcqbQ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4H2tc.vFjJyEYs862Aaw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iX3QxzKn4aDOkKotv1TA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3awISAUsd2PN_boTzS3Q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KZKMqShIX4KCC9rG1r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Ap4RRRSzW2PwVn7RXalA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hxYVNNAUM8._.7DZsr4A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c_OjBJ7poq8t2F0CS4iQ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UFc_3A6CvnOnjegOp19w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siLv3PGqs4CQyOROA8vw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cAJiAVhiXmo7sIzL5GOA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Q1lRmH4_kZ8xqkP1O8sA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QciTnN_zZKy3mUMe.w_w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7EQWHrlWLI00HdlB_MiQ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xSpc42kawVYMns5jb4SA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uzHs3VA4E6fAATckKDv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2IyD5O5wyqLuNz6FyvNA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2LRuVYRSBR0LKJ1tRF6g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ht3V8maTawUoJRO3eX1g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IMHgs2YoE.zjOS3ifk8w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1Bmj4JR5akyN7NSNBpzQ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knckKVHBiKK0442WIw.Q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ybIKaV1n0508JouY_wA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MYbHhpCQbzgLlYhjgDC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bkL2kClbSWelcFaPGgT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cUclq6ILppIr9GgUF0x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j2rJstXap.bepH629nB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e.LJB23wl13kVE_cs6h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jbiHNEtsccjnq6Ml8l9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iMkKA81GJ1LO2z0PHWz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XeENyTXeQhZEdWGMNBHg"/>
</p:tagLst>
</file>

<file path=ppt/theme/theme1.xml><?xml version="1.0" encoding="utf-8"?>
<a:theme xmlns:a="http://schemas.openxmlformats.org/drawingml/2006/main" name="Gavi – Titles, Sections, End Slides">
  <a:themeElements>
    <a:clrScheme name="Gavi Palette 1">
      <a:dk1>
        <a:srgbClr val="000000"/>
      </a:dk1>
      <a:lt1>
        <a:srgbClr val="FFFFFF"/>
      </a:lt1>
      <a:dk2>
        <a:srgbClr val="005CB9"/>
      </a:dk2>
      <a:lt2>
        <a:srgbClr val="00A1DF"/>
      </a:lt2>
      <a:accent1>
        <a:srgbClr val="83BD00"/>
      </a:accent1>
      <a:accent2>
        <a:srgbClr val="3E9B6E"/>
      </a:accent2>
      <a:accent3>
        <a:srgbClr val="E24A3F"/>
      </a:accent3>
      <a:accent4>
        <a:srgbClr val="FA7650"/>
      </a:accent4>
      <a:accent5>
        <a:srgbClr val="F8A623"/>
      </a:accent5>
      <a:accent6>
        <a:srgbClr val="FED141"/>
      </a:accent6>
      <a:hlink>
        <a:srgbClr val="00A1DF"/>
      </a:hlink>
      <a:folHlink>
        <a:srgbClr val="005CB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VI_PPT_Full template" id="{99C43E16-FF9C-1849-AF03-F58742B6D3E6}" vid="{2B276190-5DD2-7F4B-9F0E-8F3BFCF15372}"/>
    </a:ext>
  </a:extLst>
</a:theme>
</file>

<file path=ppt/theme/theme2.xml><?xml version="1.0" encoding="utf-8"?>
<a:theme xmlns:a="http://schemas.openxmlformats.org/drawingml/2006/main" name="Gavi – Body Slides">
  <a:themeElements>
    <a:clrScheme name="Gavi Palette 1">
      <a:dk1>
        <a:srgbClr val="000000"/>
      </a:dk1>
      <a:lt1>
        <a:srgbClr val="FFFFFF"/>
      </a:lt1>
      <a:dk2>
        <a:srgbClr val="005CB9"/>
      </a:dk2>
      <a:lt2>
        <a:srgbClr val="00A1DF"/>
      </a:lt2>
      <a:accent1>
        <a:srgbClr val="83BD00"/>
      </a:accent1>
      <a:accent2>
        <a:srgbClr val="3E9B6E"/>
      </a:accent2>
      <a:accent3>
        <a:srgbClr val="E24A3F"/>
      </a:accent3>
      <a:accent4>
        <a:srgbClr val="FA7650"/>
      </a:accent4>
      <a:accent5>
        <a:srgbClr val="F8A623"/>
      </a:accent5>
      <a:accent6>
        <a:srgbClr val="FED141"/>
      </a:accent6>
      <a:hlink>
        <a:srgbClr val="00A1DF"/>
      </a:hlink>
      <a:folHlink>
        <a:srgbClr val="005CB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VI_PPT_Full template" id="{99C43E16-FF9C-1849-AF03-F58742B6D3E6}" vid="{2567E646-D828-574A-82B0-C553FAD81028}"/>
    </a:ext>
  </a:extLst>
</a:theme>
</file>

<file path=ppt/theme/theme3.xml><?xml version="1.0" encoding="utf-8"?>
<a:theme xmlns:a="http://schemas.openxmlformats.org/drawingml/2006/main" name="4_Gavi">
  <a:themeElements>
    <a:clrScheme name="Gavi">
      <a:dk1>
        <a:srgbClr val="343434"/>
      </a:dk1>
      <a:lt1>
        <a:sysClr val="window" lastClr="FFFFFF"/>
      </a:lt1>
      <a:dk2>
        <a:srgbClr val="F59BBB"/>
      </a:dk2>
      <a:lt2>
        <a:srgbClr val="878787"/>
      </a:lt2>
      <a:accent1>
        <a:srgbClr val="005CB9"/>
      </a:accent1>
      <a:accent2>
        <a:srgbClr val="00A1DF"/>
      </a:accent2>
      <a:accent3>
        <a:srgbClr val="95D600"/>
      </a:accent3>
      <a:accent4>
        <a:srgbClr val="A51890"/>
      </a:accent4>
      <a:accent5>
        <a:srgbClr val="CE0F69"/>
      </a:accent5>
      <a:accent6>
        <a:srgbClr val="005A70"/>
      </a:accent6>
      <a:hlink>
        <a:srgbClr val="343434"/>
      </a:hlink>
      <a:folHlink>
        <a:srgbClr val="343434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PATH 2019 Office Theme">
  <a:themeElements>
    <a:clrScheme name="PATH 2019 Office Colors">
      <a:dk1>
        <a:sysClr val="windowText" lastClr="000000"/>
      </a:dk1>
      <a:lt1>
        <a:sysClr val="window" lastClr="FFFFFF"/>
      </a:lt1>
      <a:dk2>
        <a:srgbClr val="464F61"/>
      </a:dk2>
      <a:lt2>
        <a:srgbClr val="E8EAEB"/>
      </a:lt2>
      <a:accent1>
        <a:srgbClr val="F65050"/>
      </a:accent1>
      <a:accent2>
        <a:srgbClr val="A8001E"/>
      </a:accent2>
      <a:accent3>
        <a:srgbClr val="008C9B"/>
      </a:accent3>
      <a:accent4>
        <a:srgbClr val="5050CD"/>
      </a:accent4>
      <a:accent5>
        <a:srgbClr val="1EAF5F"/>
      </a:accent5>
      <a:accent6>
        <a:srgbClr val="F4EDE7"/>
      </a:accent6>
      <a:hlink>
        <a:srgbClr val="F65050"/>
      </a:hlink>
      <a:folHlink>
        <a:srgbClr val="F65050"/>
      </a:folHlink>
    </a:clrScheme>
    <a:fontScheme name="PATH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454E6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>
            <a:solidFill>
              <a:srgbClr val="454E60"/>
            </a:solidFill>
            <a:latin typeface="Helvetica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ATH 2019 Office Theme" id="{E4A26A76-BBF7-40A3-A1F0-2C99DE471543}" vid="{95E9B40A-6317-4B82-A6F7-0F8C049CAB09}"/>
    </a:ext>
  </a:extLst>
</a:theme>
</file>

<file path=ppt/theme/theme5.xml><?xml version="1.0" encoding="utf-8"?>
<a:theme xmlns:a="http://schemas.openxmlformats.org/drawingml/2006/main" name="1_Gavi – Body Slides">
  <a:themeElements>
    <a:clrScheme name="Gavi Palette 1">
      <a:dk1>
        <a:srgbClr val="000000"/>
      </a:dk1>
      <a:lt1>
        <a:srgbClr val="FFFFFF"/>
      </a:lt1>
      <a:dk2>
        <a:srgbClr val="005CB9"/>
      </a:dk2>
      <a:lt2>
        <a:srgbClr val="00A1DF"/>
      </a:lt2>
      <a:accent1>
        <a:srgbClr val="83BD00"/>
      </a:accent1>
      <a:accent2>
        <a:srgbClr val="3E9B6E"/>
      </a:accent2>
      <a:accent3>
        <a:srgbClr val="E24A3F"/>
      </a:accent3>
      <a:accent4>
        <a:srgbClr val="FA7650"/>
      </a:accent4>
      <a:accent5>
        <a:srgbClr val="F8A623"/>
      </a:accent5>
      <a:accent6>
        <a:srgbClr val="FED141"/>
      </a:accent6>
      <a:hlink>
        <a:srgbClr val="00A1DF"/>
      </a:hlink>
      <a:folHlink>
        <a:srgbClr val="005CB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VI_PPT_Full template" id="{99C43E16-FF9C-1849-AF03-F58742B6D3E6}" vid="{2567E646-D828-574A-82B0-C553FAD81028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Gavi Document" ma:contentTypeID="0x0101009954897F3EE3CC4ABB9FB9EDAC9CDEBC00D01091B237BE95438753446F6B184323" ma:contentTypeVersion="19" ma:contentTypeDescription="Gavi Document content type " ma:contentTypeScope="" ma:versionID="c030ac94978e2c62803e6b5f0ee2a04a">
  <xsd:schema xmlns:xsd="http://www.w3.org/2001/XMLSchema" xmlns:xs="http://www.w3.org/2001/XMLSchema" xmlns:p="http://schemas.microsoft.com/office/2006/metadata/properties" xmlns:ns2="d0706217-df7c-4bf4-936d-b09aa3b837af" xmlns:ns3="d74dc7b7-5dcb-4061-b7f1-ef5eee9fc703" targetNamespace="http://schemas.microsoft.com/office/2006/metadata/properties" ma:root="true" ma:fieldsID="07c639ac11b51cf6d0c33049eb17aac2" ns2:_="" ns3:_="">
    <xsd:import namespace="d0706217-df7c-4bf4-936d-b09aa3b837af"/>
    <xsd:import namespace="d74dc7b7-5dcb-4061-b7f1-ef5eee9fc703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2:TaxKeywordTaxHTField" minOccurs="0"/>
                <xsd:element ref="ns3:MediaServiceAutoKeyPoints" minOccurs="0"/>
                <xsd:element ref="ns3:MediaServiceKeyPoints" minOccurs="0"/>
                <xsd:element ref="ns3:MediaServiceGenerationTime" minOccurs="0"/>
                <xsd:element ref="ns3:MediaServiceEventHashCode" minOccurs="0"/>
                <xsd:element ref="ns3:coiunt" minOccurs="0"/>
                <xsd:element ref="ns3:lcf76f155ced4ddcb4097134ff3c332f" minOccurs="0"/>
                <xsd:element ref="ns3:MediaLengthInSeconds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706217-df7c-4bf4-936d-b09aa3b837af" elementFormDefault="qualified">
    <xsd:import namespace="http://schemas.microsoft.com/office/2006/documentManagement/types"/>
    <xsd:import namespace="http://schemas.microsoft.com/office/infopath/2007/PartnerControls"/>
    <xsd:element name="TaxCatchAll" ma:index="5" nillable="true" ma:displayName="Taxonomy Catch All Column" ma:hidden="true" ma:list="{abc79aef-d96a-49dc-a107-ccd4ced33414}" ma:internalName="TaxCatchAll" ma:showField="CatchAllData" ma:web="5fe1d64f-7e6e-4e0c-b39f-b51e95e32d6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6" nillable="true" ma:displayName="Taxonomy Catch All Column1" ma:hidden="true" ma:list="{abc79aef-d96a-49dc-a107-ccd4ced33414}" ma:internalName="TaxCatchAllLabel" ma:readOnly="true" ma:showField="CatchAllDataLabel" ma:web="5fe1d64f-7e6e-4e0c-b39f-b51e95e32d6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8" nillable="true" ma:taxonomy="true" ma:internalName="TaxKeywordTaxHTField" ma:taxonomyFieldName="TaxKeyword" ma:displayName="Tags" ma:readOnly="false" ma:fieldId="{23f27201-bee3-471e-b2e7-b64fd8b7ca38}" ma:taxonomyMulti="true" ma:sspId="93cb0222-e980-4273-ad97-85dba3159c09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4dc7b7-5dcb-4061-b7f1-ef5eee9fc703" elementFormDefault="qualified">
    <xsd:import namespace="http://schemas.microsoft.com/office/2006/documentManagement/types"/>
    <xsd:import namespace="http://schemas.microsoft.com/office/infopath/2007/PartnerControls"/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coiunt" ma:index="16" nillable="true" ma:displayName="coiunt" ma:internalName="coiunt">
      <xsd:simpleType>
        <xsd:restriction base="dms:Number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93cb0222-e980-4273-ad97-85dba3159c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0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7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haredContentType xmlns="Microsoft.SharePoint.Taxonomy.ContentTypeSync" SourceId="93cb0222-e980-4273-ad97-85dba3159c09" ContentTypeId="0x0101009954897F3EE3CC4ABB9FB9EDAC9CDEBC" PreviousValue="false"/>
</file>

<file path=customXml/item3.xml><?xml version="1.0" encoding="utf-8"?>
<?mso-contentType ?>
<FormTemplates xmlns="http://schemas.microsoft.com/sharepoint/v3/contenttype/forms"/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0706217-df7c-4bf4-936d-b09aa3b837af" xsi:nil="true"/>
    <lcf76f155ced4ddcb4097134ff3c332f xmlns="d74dc7b7-5dcb-4061-b7f1-ef5eee9fc703">
      <Terms xmlns="http://schemas.microsoft.com/office/infopath/2007/PartnerControls"/>
    </lcf76f155ced4ddcb4097134ff3c332f>
    <coiunt xmlns="d74dc7b7-5dcb-4061-b7f1-ef5eee9fc703" xsi:nil="true"/>
    <TaxKeywordTaxHTField xmlns="d0706217-df7c-4bf4-936d-b09aa3b837af">
      <Terms xmlns="http://schemas.microsoft.com/office/infopath/2007/PartnerControls"/>
    </TaxKeywordTaxHTField>
  </documentManagement>
</p:properties>
</file>

<file path=customXml/itemProps1.xml><?xml version="1.0" encoding="utf-8"?>
<ds:datastoreItem xmlns:ds="http://schemas.openxmlformats.org/officeDocument/2006/customXml" ds:itemID="{DC4067FB-0213-4362-B1BC-FC918585176E}">
  <ds:schemaRefs>
    <ds:schemaRef ds:uri="d0706217-df7c-4bf4-936d-b09aa3b837af"/>
    <ds:schemaRef ds:uri="d74dc7b7-5dcb-4061-b7f1-ef5eee9fc70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12DFC790-B1DF-415A-B654-E243490E4616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F4F6B71C-78E6-4D3A-B8F6-B509333C9626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0DB417BA-B70D-4064-B126-526D374E90C8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d74dc7b7-5dcb-4061-b7f1-ef5eee9fc703"/>
    <ds:schemaRef ds:uri="http://purl.org/dc/elements/1.1/"/>
    <ds:schemaRef ds:uri="http://schemas.microsoft.com/office/2006/metadata/properties"/>
    <ds:schemaRef ds:uri="d0706217-df7c-4bf4-936d-b09aa3b837af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AVI_PPT_Full template</Template>
  <TotalTime>26653</TotalTime>
  <Words>2222</Words>
  <Application>Microsoft Macintosh PowerPoint</Application>
  <PresentationFormat>Widescreen</PresentationFormat>
  <Paragraphs>1002</Paragraphs>
  <Slides>3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0" baseType="lpstr">
      <vt:lpstr>Arial</vt:lpstr>
      <vt:lpstr>Calibri</vt:lpstr>
      <vt:lpstr>Courier New</vt:lpstr>
      <vt:lpstr>Helvetica</vt:lpstr>
      <vt:lpstr>Gavi – Titles, Sections, End Slides</vt:lpstr>
      <vt:lpstr>Gavi – Body Slides</vt:lpstr>
      <vt:lpstr>4_Gavi</vt:lpstr>
      <vt:lpstr>PATH 2019 Office Theme</vt:lpstr>
      <vt:lpstr>1_Gavi – Body Slides</vt:lpstr>
      <vt:lpstr>think-cell Slide</vt:lpstr>
      <vt:lpstr>Rabies Strategic Demand Scenarios   </vt:lpstr>
      <vt:lpstr>PowerPoint Presentation</vt:lpstr>
      <vt:lpstr>Background and purpose of Strategic Demand Scenarios</vt:lpstr>
      <vt:lpstr>Key stakeholders for engagement</vt:lpstr>
      <vt:lpstr>Timeline</vt:lpstr>
      <vt:lpstr>PowerPoint Presentation</vt:lpstr>
      <vt:lpstr>Demand forecast approach - a country level</vt:lpstr>
      <vt:lpstr>PowerPoint Presentation</vt:lpstr>
      <vt:lpstr>Base Forecast - Assumptions</vt:lpstr>
      <vt:lpstr>Base Forecast - Assumptions</vt:lpstr>
      <vt:lpstr>Future Target PEP rates are calculated based on median PEP rate measures from countries with known PEP usage</vt:lpstr>
      <vt:lpstr>All 52 planned country introductions* between 2025 and 2034</vt:lpstr>
      <vt:lpstr>List of 52 GAVI eligible countries where rabies is endemic</vt:lpstr>
      <vt:lpstr>PowerPoint Presentation</vt:lpstr>
      <vt:lpstr>26.8 million vaccine doses are expected to be needed between 2025 and 2030</vt:lpstr>
      <vt:lpstr>Vaccine introductions are phased in on a rolling schedule with 35 countries expected to receive GAVI funding by 2030</vt:lpstr>
      <vt:lpstr>In Gavi 5.0, Cambodia, Tanzania and Côte d’Ivoire drive ~80% of volume while it is more fragmented in Gavi 6.0</vt:lpstr>
      <vt:lpstr>Vaccine introductions are phased in on a rolling schedule with 52 countries expected to receive GAVI funding by 2034</vt:lpstr>
      <vt:lpstr>Understanding the breakdown of demand from PEP population to number of doses: focus on Tanzania (2025)</vt:lpstr>
      <vt:lpstr>PowerPoint Presentation</vt:lpstr>
      <vt:lpstr>Countries with an expected GAVI application in 2024 -Benin</vt:lpstr>
      <vt:lpstr>Countries with an expected GAVI application in 2024 -Cambodia</vt:lpstr>
      <vt:lpstr>Countries with an expected GAVI application in 2024 -Chad</vt:lpstr>
      <vt:lpstr>Countries with an expected GAVI application in 2024 –Côte d’Ivoire</vt:lpstr>
      <vt:lpstr>Countries with an expected GAVI application in 2024 –Madagascar</vt:lpstr>
      <vt:lpstr>Countries with an expected GAVI application in 2024 –Mali</vt:lpstr>
      <vt:lpstr>Countries with an expected GAVI application in 2024 –Tanzania</vt:lpstr>
      <vt:lpstr>Thank you</vt:lpstr>
      <vt:lpstr>PowerPoint Presentation</vt:lpstr>
      <vt:lpstr>Share of rural population by country (World Bank, 2022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MCV SDS kick off</dc:title>
  <dc:creator>Samya Mandal</dc:creator>
  <cp:lastModifiedBy>Katie Hampson</cp:lastModifiedBy>
  <cp:revision>7</cp:revision>
  <dcterms:created xsi:type="dcterms:W3CDTF">2023-04-26T06:56:03Z</dcterms:created>
  <dcterms:modified xsi:type="dcterms:W3CDTF">2024-05-08T23:37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a957285-7815-485a-9751-5b273b784ad5_Enabled">
    <vt:lpwstr>true</vt:lpwstr>
  </property>
  <property fmtid="{D5CDD505-2E9C-101B-9397-08002B2CF9AE}" pid="3" name="MSIP_Label_0a957285-7815-485a-9751-5b273b784ad5_SetDate">
    <vt:lpwstr>2022-02-17T16:13:58Z</vt:lpwstr>
  </property>
  <property fmtid="{D5CDD505-2E9C-101B-9397-08002B2CF9AE}" pid="4" name="MSIP_Label_0a957285-7815-485a-9751-5b273b784ad5_Method">
    <vt:lpwstr>Privileged</vt:lpwstr>
  </property>
  <property fmtid="{D5CDD505-2E9C-101B-9397-08002B2CF9AE}" pid="5" name="MSIP_Label_0a957285-7815-485a-9751-5b273b784ad5_Name">
    <vt:lpwstr>0a957285-7815-485a-9751-5b273b784ad5</vt:lpwstr>
  </property>
  <property fmtid="{D5CDD505-2E9C-101B-9397-08002B2CF9AE}" pid="6" name="MSIP_Label_0a957285-7815-485a-9751-5b273b784ad5_SiteId">
    <vt:lpwstr>1de6d9f3-0daf-4df6-b9d6-5959f16f6118</vt:lpwstr>
  </property>
  <property fmtid="{D5CDD505-2E9C-101B-9397-08002B2CF9AE}" pid="7" name="MSIP_Label_0a957285-7815-485a-9751-5b273b784ad5_ActionId">
    <vt:lpwstr>149189a2-f678-4e5f-b622-22e4b9a92e12</vt:lpwstr>
  </property>
  <property fmtid="{D5CDD505-2E9C-101B-9397-08002B2CF9AE}" pid="8" name="MSIP_Label_0a957285-7815-485a-9751-5b273b784ad5_ContentBits">
    <vt:lpwstr>0</vt:lpwstr>
  </property>
  <property fmtid="{D5CDD505-2E9C-101B-9397-08002B2CF9AE}" pid="9" name="TaxKeyword">
    <vt:lpwstr/>
  </property>
  <property fmtid="{D5CDD505-2E9C-101B-9397-08002B2CF9AE}" pid="10" name="MediaServiceImageTags">
    <vt:lpwstr/>
  </property>
  <property fmtid="{D5CDD505-2E9C-101B-9397-08002B2CF9AE}" pid="11" name="ContentTypeId">
    <vt:lpwstr>0x0101009954897F3EE3CC4ABB9FB9EDAC9CDEBC00D01091B237BE95438753446F6B184323</vt:lpwstr>
  </property>
  <property fmtid="{D5CDD505-2E9C-101B-9397-08002B2CF9AE}" pid="12" name="SharedWithUsers">
    <vt:lpwstr>68;#Anna Osborne;#39;#Margarita Xydia Charmanta;#3361;#Maël Redard-Jacot (Consultant);#3164;#Micheal Besong;#17;#Samya Mandal;#983;#Simbarashe Mabaya</vt:lpwstr>
  </property>
</Properties>
</file>